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1" r:id="rId4"/>
  </p:sldMasterIdLst>
  <p:notesMasterIdLst>
    <p:notesMasterId r:id="rId20"/>
  </p:notesMasterIdLst>
  <p:handoutMasterIdLst>
    <p:handoutMasterId r:id="rId21"/>
  </p:handoutMasterIdLst>
  <p:sldIdLst>
    <p:sldId id="265" r:id="rId5"/>
    <p:sldId id="259" r:id="rId6"/>
    <p:sldId id="306" r:id="rId7"/>
    <p:sldId id="307" r:id="rId8"/>
    <p:sldId id="308" r:id="rId9"/>
    <p:sldId id="297" r:id="rId10"/>
    <p:sldId id="299" r:id="rId11"/>
    <p:sldId id="298" r:id="rId12"/>
    <p:sldId id="300" r:id="rId13"/>
    <p:sldId id="302" r:id="rId14"/>
    <p:sldId id="303" r:id="rId15"/>
    <p:sldId id="304" r:id="rId16"/>
    <p:sldId id="301" r:id="rId17"/>
    <p:sldId id="305" r:id="rId18"/>
    <p:sldId id="294" r:id="rId1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nmaya K Acharya" initials="TKA" lastIdx="2" clrIdx="0"/>
  <p:cmAuthor id="1" name="Uma M Ponniamman" initials="UMP"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55906" autoAdjust="0"/>
  </p:normalViewPr>
  <p:slideViewPr>
    <p:cSldViewPr snapToGrid="0" showGuides="1">
      <p:cViewPr varScale="1">
        <p:scale>
          <a:sx n="45" d="100"/>
          <a:sy n="45" d="100"/>
        </p:scale>
        <p:origin x="1872" y="36"/>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0" d="100"/>
          <a:sy n="60" d="100"/>
        </p:scale>
        <p:origin x="-2736" y="13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3DB6FE-130F-4B68-90ED-6D10C919E344}"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096C065E-BAE4-4B3B-A8C9-E8014706131E}">
      <dgm:prSet phldrT="[Text]"/>
      <dgm:spPr/>
      <dgm:t>
        <a:bodyPr/>
        <a:lstStyle/>
        <a:p>
          <a:r>
            <a:rPr lang="en-US" dirty="0" smtClean="0"/>
            <a:t>Case Study For Kubernetes</a:t>
          </a:r>
          <a:endParaRPr lang="en-US" dirty="0"/>
        </a:p>
      </dgm:t>
    </dgm:pt>
    <dgm:pt modelId="{218997BF-3E8C-4589-BC26-E679C0864EE1}" type="parTrans" cxnId="{A2AC50DC-352B-4DE7-8638-E12821FDC2DD}">
      <dgm:prSet/>
      <dgm:spPr/>
      <dgm:t>
        <a:bodyPr/>
        <a:lstStyle/>
        <a:p>
          <a:endParaRPr lang="en-US"/>
        </a:p>
      </dgm:t>
    </dgm:pt>
    <dgm:pt modelId="{CCFCA0FD-6740-4CB5-B625-B659CE537B8B}" type="sibTrans" cxnId="{A2AC50DC-352B-4DE7-8638-E12821FDC2DD}">
      <dgm:prSet/>
      <dgm:spPr/>
      <dgm:t>
        <a:bodyPr/>
        <a:lstStyle/>
        <a:p>
          <a:endParaRPr lang="en-US"/>
        </a:p>
      </dgm:t>
    </dgm:pt>
    <dgm:pt modelId="{6D1AE815-C248-4D12-A4A6-ED5714A7394E}">
      <dgm:prSet phldrT="[Text]"/>
      <dgm:spPr/>
      <dgm:t>
        <a:bodyPr/>
        <a:lstStyle/>
        <a:p>
          <a:r>
            <a:rPr lang="en-US" smtClean="0"/>
            <a:t>Deployment With  Kubernetes</a:t>
          </a:r>
          <a:endParaRPr lang="en-US" dirty="0"/>
        </a:p>
      </dgm:t>
    </dgm:pt>
    <dgm:pt modelId="{9A70A239-03B2-4484-AD41-22A097E2E04A}" type="parTrans" cxnId="{BCAA952F-DB1D-4822-889E-CAACAE4B4AF0}">
      <dgm:prSet/>
      <dgm:spPr/>
      <dgm:t>
        <a:bodyPr/>
        <a:lstStyle/>
        <a:p>
          <a:endParaRPr lang="en-US"/>
        </a:p>
      </dgm:t>
    </dgm:pt>
    <dgm:pt modelId="{06C04FA7-98BF-4412-B919-EB207C67701B}" type="sibTrans" cxnId="{BCAA952F-DB1D-4822-889E-CAACAE4B4AF0}">
      <dgm:prSet/>
      <dgm:spPr/>
      <dgm:t>
        <a:bodyPr/>
        <a:lstStyle/>
        <a:p>
          <a:endParaRPr lang="en-US"/>
        </a:p>
      </dgm:t>
    </dgm:pt>
    <dgm:pt modelId="{FCD67F30-3A94-47C8-9551-E2606C1CEC98}">
      <dgm:prSet phldrT="[Text]"/>
      <dgm:spPr/>
      <dgm:t>
        <a:bodyPr/>
        <a:lstStyle/>
        <a:p>
          <a:r>
            <a:rPr lang="en-US" smtClean="0"/>
            <a:t>How does Kubernetes Work</a:t>
          </a:r>
          <a:endParaRPr lang="en-US" dirty="0"/>
        </a:p>
      </dgm:t>
    </dgm:pt>
    <dgm:pt modelId="{2EC7A8D4-0344-438A-84A9-92F28300F1EF}" type="parTrans" cxnId="{04218DB7-E82A-4E6A-9AF0-25AC99095EC8}">
      <dgm:prSet/>
      <dgm:spPr/>
      <dgm:t>
        <a:bodyPr/>
        <a:lstStyle/>
        <a:p>
          <a:endParaRPr lang="en-US"/>
        </a:p>
      </dgm:t>
    </dgm:pt>
    <dgm:pt modelId="{2C56C188-9261-4442-BE26-098884F6C74E}" type="sibTrans" cxnId="{04218DB7-E82A-4E6A-9AF0-25AC99095EC8}">
      <dgm:prSet/>
      <dgm:spPr/>
      <dgm:t>
        <a:bodyPr/>
        <a:lstStyle/>
        <a:p>
          <a:endParaRPr lang="en-US"/>
        </a:p>
      </dgm:t>
    </dgm:pt>
    <dgm:pt modelId="{6213E28C-AC7C-4EB2-AA9B-3CAC729BDBA6}">
      <dgm:prSet phldrT="[Text]"/>
      <dgm:spPr/>
      <dgm:t>
        <a:bodyPr/>
        <a:lstStyle/>
        <a:p>
          <a:r>
            <a:rPr lang="en-US" dirty="0" smtClean="0"/>
            <a:t>Need Of Kubernetes</a:t>
          </a:r>
          <a:endParaRPr lang="en-US" dirty="0"/>
        </a:p>
      </dgm:t>
    </dgm:pt>
    <dgm:pt modelId="{E46F9318-3AEF-486B-A97D-6869714CE528}" type="parTrans" cxnId="{09A11A55-2A28-4B99-8BDB-C29B0C7428EE}">
      <dgm:prSet/>
      <dgm:spPr/>
      <dgm:t>
        <a:bodyPr/>
        <a:lstStyle/>
        <a:p>
          <a:endParaRPr lang="en-US"/>
        </a:p>
      </dgm:t>
    </dgm:pt>
    <dgm:pt modelId="{9E03E659-522A-4C57-A2C5-E87EAF191E9F}" type="sibTrans" cxnId="{09A11A55-2A28-4B99-8BDB-C29B0C7428EE}">
      <dgm:prSet/>
      <dgm:spPr/>
      <dgm:t>
        <a:bodyPr/>
        <a:lstStyle/>
        <a:p>
          <a:endParaRPr lang="en-US"/>
        </a:p>
      </dgm:t>
    </dgm:pt>
    <dgm:pt modelId="{108C3F06-2BE6-469A-A953-86638A5758E6}">
      <dgm:prSet phldrT="[Text]"/>
      <dgm:spPr/>
      <dgm:t>
        <a:bodyPr/>
        <a:lstStyle/>
        <a:p>
          <a:r>
            <a:rPr lang="en-US" dirty="0" smtClean="0"/>
            <a:t>Kubernetes What and Why</a:t>
          </a:r>
          <a:endParaRPr lang="en-US" dirty="0"/>
        </a:p>
      </dgm:t>
    </dgm:pt>
    <dgm:pt modelId="{5CC3205D-65D6-4816-A15D-287CFED9FD7A}" type="parTrans" cxnId="{7ADDBB86-EA04-46B6-981D-D5C3DC4DE2B5}">
      <dgm:prSet/>
      <dgm:spPr/>
      <dgm:t>
        <a:bodyPr/>
        <a:lstStyle/>
        <a:p>
          <a:endParaRPr lang="en-US"/>
        </a:p>
      </dgm:t>
    </dgm:pt>
    <dgm:pt modelId="{0044468E-97C0-438D-BBCB-2BDC19BBF441}" type="sibTrans" cxnId="{7ADDBB86-EA04-46B6-981D-D5C3DC4DE2B5}">
      <dgm:prSet/>
      <dgm:spPr/>
      <dgm:t>
        <a:bodyPr/>
        <a:lstStyle/>
        <a:p>
          <a:endParaRPr lang="en-US"/>
        </a:p>
      </dgm:t>
    </dgm:pt>
    <dgm:pt modelId="{191F4DF4-1163-45ED-A5F7-96B951A40EFF}">
      <dgm:prSet phldrT="[Text]"/>
      <dgm:spPr/>
      <dgm:t>
        <a:bodyPr/>
        <a:lstStyle/>
        <a:p>
          <a:r>
            <a:rPr lang="en-US" dirty="0" smtClean="0"/>
            <a:t>What Is Kubernetes</a:t>
          </a:r>
          <a:endParaRPr lang="en-US" dirty="0"/>
        </a:p>
      </dgm:t>
    </dgm:pt>
    <dgm:pt modelId="{C731D771-F620-4B2C-9EC8-261E95434C91}" type="parTrans" cxnId="{9BB9C10F-83BD-4281-AD4C-CC501381E617}">
      <dgm:prSet/>
      <dgm:spPr/>
      <dgm:t>
        <a:bodyPr/>
        <a:lstStyle/>
        <a:p>
          <a:endParaRPr lang="en-US"/>
        </a:p>
      </dgm:t>
    </dgm:pt>
    <dgm:pt modelId="{5831665D-6304-42ED-B6E7-948DC17B5E42}" type="sibTrans" cxnId="{9BB9C10F-83BD-4281-AD4C-CC501381E617}">
      <dgm:prSet/>
      <dgm:spPr/>
      <dgm:t>
        <a:bodyPr/>
        <a:lstStyle/>
        <a:p>
          <a:endParaRPr lang="en-US"/>
        </a:p>
      </dgm:t>
    </dgm:pt>
    <dgm:pt modelId="{EAE84B09-56AA-4100-8BF9-26D5FEBD3903}">
      <dgm:prSet phldrT="[Text]"/>
      <dgm:spPr/>
      <dgm:t>
        <a:bodyPr/>
        <a:lstStyle/>
        <a:p>
          <a:r>
            <a:rPr lang="en-IN" b="0" dirty="0" smtClean="0"/>
            <a:t>Container Orchestration</a:t>
          </a:r>
          <a:endParaRPr lang="en-US" b="0" dirty="0"/>
        </a:p>
      </dgm:t>
    </dgm:pt>
    <dgm:pt modelId="{3C4FFA50-EDAF-43AE-85BE-5ECFD119FF0A}" type="parTrans" cxnId="{5579CA00-12AD-40D6-948F-466BC84D8572}">
      <dgm:prSet/>
      <dgm:spPr/>
      <dgm:t>
        <a:bodyPr/>
        <a:lstStyle/>
        <a:p>
          <a:endParaRPr lang="en-US"/>
        </a:p>
      </dgm:t>
    </dgm:pt>
    <dgm:pt modelId="{E60D671A-7A21-46C9-BE93-0E9A3A30BF7B}" type="sibTrans" cxnId="{5579CA00-12AD-40D6-948F-466BC84D8572}">
      <dgm:prSet/>
      <dgm:spPr/>
      <dgm:t>
        <a:bodyPr/>
        <a:lstStyle/>
        <a:p>
          <a:endParaRPr lang="en-US"/>
        </a:p>
      </dgm:t>
    </dgm:pt>
    <dgm:pt modelId="{1D9B425C-2F62-4234-BF52-C173A1F209F3}" type="pres">
      <dgm:prSet presAssocID="{FD3DB6FE-130F-4B68-90ED-6D10C919E344}" presName="Name0" presStyleCnt="0">
        <dgm:presLayoutVars>
          <dgm:chMax/>
          <dgm:chPref/>
          <dgm:dir/>
        </dgm:presLayoutVars>
      </dgm:prSet>
      <dgm:spPr/>
      <dgm:t>
        <a:bodyPr/>
        <a:lstStyle/>
        <a:p>
          <a:endParaRPr lang="en-US"/>
        </a:p>
      </dgm:t>
    </dgm:pt>
    <dgm:pt modelId="{B16467C6-63A1-4AF3-ADBB-7B93BD3C04D7}" type="pres">
      <dgm:prSet presAssocID="{EAE84B09-56AA-4100-8BF9-26D5FEBD3903}" presName="parenttextcomposite" presStyleCnt="0"/>
      <dgm:spPr/>
    </dgm:pt>
    <dgm:pt modelId="{C4C7AF1C-E70B-4D0E-A227-CA35A5F398DA}" type="pres">
      <dgm:prSet presAssocID="{EAE84B09-56AA-4100-8BF9-26D5FEBD3903}" presName="parenttext" presStyleLbl="revTx" presStyleIdx="0" presStyleCnt="7">
        <dgm:presLayoutVars>
          <dgm:chMax/>
          <dgm:chPref val="2"/>
          <dgm:bulletEnabled val="1"/>
        </dgm:presLayoutVars>
      </dgm:prSet>
      <dgm:spPr/>
      <dgm:t>
        <a:bodyPr/>
        <a:lstStyle/>
        <a:p>
          <a:endParaRPr lang="en-US"/>
        </a:p>
      </dgm:t>
    </dgm:pt>
    <dgm:pt modelId="{37D95AE5-4C14-4CA9-A617-3293D7435827}" type="pres">
      <dgm:prSet presAssocID="{EAE84B09-56AA-4100-8BF9-26D5FEBD3903}" presName="parallelogramComposite" presStyleCnt="0"/>
      <dgm:spPr/>
    </dgm:pt>
    <dgm:pt modelId="{A71E7674-9986-4172-8E5D-5B58CED9CA1D}" type="pres">
      <dgm:prSet presAssocID="{EAE84B09-56AA-4100-8BF9-26D5FEBD3903}" presName="parallelogram1" presStyleLbl="alignNode1" presStyleIdx="0" presStyleCnt="49"/>
      <dgm:spPr/>
    </dgm:pt>
    <dgm:pt modelId="{3E546E54-29AC-4651-B635-39DD896CB898}" type="pres">
      <dgm:prSet presAssocID="{EAE84B09-56AA-4100-8BF9-26D5FEBD3903}" presName="parallelogram2" presStyleLbl="alignNode1" presStyleIdx="1" presStyleCnt="49"/>
      <dgm:spPr/>
    </dgm:pt>
    <dgm:pt modelId="{C1523ED4-6CC6-405E-BC71-885C259553E1}" type="pres">
      <dgm:prSet presAssocID="{EAE84B09-56AA-4100-8BF9-26D5FEBD3903}" presName="parallelogram3" presStyleLbl="alignNode1" presStyleIdx="2" presStyleCnt="49"/>
      <dgm:spPr/>
    </dgm:pt>
    <dgm:pt modelId="{1B64CB08-BCE5-4718-8CEA-6EB227045853}" type="pres">
      <dgm:prSet presAssocID="{EAE84B09-56AA-4100-8BF9-26D5FEBD3903}" presName="parallelogram4" presStyleLbl="alignNode1" presStyleIdx="3" presStyleCnt="49"/>
      <dgm:spPr/>
    </dgm:pt>
    <dgm:pt modelId="{B389BB41-6F59-4B63-BD88-D78DA7C7F33E}" type="pres">
      <dgm:prSet presAssocID="{EAE84B09-56AA-4100-8BF9-26D5FEBD3903}" presName="parallelogram5" presStyleLbl="alignNode1" presStyleIdx="4" presStyleCnt="49"/>
      <dgm:spPr/>
    </dgm:pt>
    <dgm:pt modelId="{95B0E095-FBDB-469F-8451-02E60563F4E3}" type="pres">
      <dgm:prSet presAssocID="{EAE84B09-56AA-4100-8BF9-26D5FEBD3903}" presName="parallelogram6" presStyleLbl="alignNode1" presStyleIdx="5" presStyleCnt="49"/>
      <dgm:spPr/>
    </dgm:pt>
    <dgm:pt modelId="{23498581-DDBA-45B9-89B8-2AD562C5CA70}" type="pres">
      <dgm:prSet presAssocID="{EAE84B09-56AA-4100-8BF9-26D5FEBD3903}" presName="parallelogram7" presStyleLbl="alignNode1" presStyleIdx="6" presStyleCnt="49"/>
      <dgm:spPr/>
    </dgm:pt>
    <dgm:pt modelId="{9DCD06C3-30BE-438C-A7D3-03EDA8A7D8EC}" type="pres">
      <dgm:prSet presAssocID="{E60D671A-7A21-46C9-BE93-0E9A3A30BF7B}" presName="sibTrans" presStyleCnt="0"/>
      <dgm:spPr/>
    </dgm:pt>
    <dgm:pt modelId="{4F20B756-45AC-41D6-8AC4-5AAA0BD9131F}" type="pres">
      <dgm:prSet presAssocID="{191F4DF4-1163-45ED-A5F7-96B951A40EFF}" presName="parenttextcomposite" presStyleCnt="0"/>
      <dgm:spPr/>
    </dgm:pt>
    <dgm:pt modelId="{2D1C923F-2A7A-4B70-94D1-0133DB1E3762}" type="pres">
      <dgm:prSet presAssocID="{191F4DF4-1163-45ED-A5F7-96B951A40EFF}" presName="parenttext" presStyleLbl="revTx" presStyleIdx="1" presStyleCnt="7">
        <dgm:presLayoutVars>
          <dgm:chMax/>
          <dgm:chPref val="2"/>
          <dgm:bulletEnabled val="1"/>
        </dgm:presLayoutVars>
      </dgm:prSet>
      <dgm:spPr/>
      <dgm:t>
        <a:bodyPr/>
        <a:lstStyle/>
        <a:p>
          <a:endParaRPr lang="en-US"/>
        </a:p>
      </dgm:t>
    </dgm:pt>
    <dgm:pt modelId="{ADEB1F2C-3707-4497-8A91-79B117DA1BC6}" type="pres">
      <dgm:prSet presAssocID="{191F4DF4-1163-45ED-A5F7-96B951A40EFF}" presName="parallelogramComposite" presStyleCnt="0"/>
      <dgm:spPr/>
    </dgm:pt>
    <dgm:pt modelId="{AF2DE573-BD02-4E7F-9DD5-2771A60D6B64}" type="pres">
      <dgm:prSet presAssocID="{191F4DF4-1163-45ED-A5F7-96B951A40EFF}" presName="parallelogram1" presStyleLbl="alignNode1" presStyleIdx="7" presStyleCnt="49"/>
      <dgm:spPr/>
    </dgm:pt>
    <dgm:pt modelId="{4F7FAC64-C37C-4323-913D-D4A88FE9F9EC}" type="pres">
      <dgm:prSet presAssocID="{191F4DF4-1163-45ED-A5F7-96B951A40EFF}" presName="parallelogram2" presStyleLbl="alignNode1" presStyleIdx="8" presStyleCnt="49"/>
      <dgm:spPr/>
    </dgm:pt>
    <dgm:pt modelId="{E4F62D0C-792A-4EC1-B404-CCB490F3F6F3}" type="pres">
      <dgm:prSet presAssocID="{191F4DF4-1163-45ED-A5F7-96B951A40EFF}" presName="parallelogram3" presStyleLbl="alignNode1" presStyleIdx="9" presStyleCnt="49"/>
      <dgm:spPr/>
    </dgm:pt>
    <dgm:pt modelId="{AFF35C6C-5856-4DCB-BA7B-E887A58BCACF}" type="pres">
      <dgm:prSet presAssocID="{191F4DF4-1163-45ED-A5F7-96B951A40EFF}" presName="parallelogram4" presStyleLbl="alignNode1" presStyleIdx="10" presStyleCnt="49"/>
      <dgm:spPr/>
    </dgm:pt>
    <dgm:pt modelId="{F1108FF4-5909-4299-B430-F3BDE96F4B0F}" type="pres">
      <dgm:prSet presAssocID="{191F4DF4-1163-45ED-A5F7-96B951A40EFF}" presName="parallelogram5" presStyleLbl="alignNode1" presStyleIdx="11" presStyleCnt="49"/>
      <dgm:spPr/>
    </dgm:pt>
    <dgm:pt modelId="{823C22FE-6991-4B50-8974-A6356AE1C3C4}" type="pres">
      <dgm:prSet presAssocID="{191F4DF4-1163-45ED-A5F7-96B951A40EFF}" presName="parallelogram6" presStyleLbl="alignNode1" presStyleIdx="12" presStyleCnt="49"/>
      <dgm:spPr/>
    </dgm:pt>
    <dgm:pt modelId="{50D4B161-6A4A-4D73-BEF5-185ADD3D721C}" type="pres">
      <dgm:prSet presAssocID="{191F4DF4-1163-45ED-A5F7-96B951A40EFF}" presName="parallelogram7" presStyleLbl="alignNode1" presStyleIdx="13" presStyleCnt="49"/>
      <dgm:spPr/>
    </dgm:pt>
    <dgm:pt modelId="{D69300A9-A255-40B3-8A89-F3A9ED3BA852}" type="pres">
      <dgm:prSet presAssocID="{5831665D-6304-42ED-B6E7-948DC17B5E42}" presName="sibTrans" presStyleCnt="0"/>
      <dgm:spPr/>
    </dgm:pt>
    <dgm:pt modelId="{4E5A71E3-0869-4D2F-ACE0-D69DF8A61F01}" type="pres">
      <dgm:prSet presAssocID="{108C3F06-2BE6-469A-A953-86638A5758E6}" presName="parenttextcomposite" presStyleCnt="0"/>
      <dgm:spPr/>
    </dgm:pt>
    <dgm:pt modelId="{812A3030-8920-4190-A37A-883797A79122}" type="pres">
      <dgm:prSet presAssocID="{108C3F06-2BE6-469A-A953-86638A5758E6}" presName="parenttext" presStyleLbl="revTx" presStyleIdx="2" presStyleCnt="7">
        <dgm:presLayoutVars>
          <dgm:chMax/>
          <dgm:chPref val="2"/>
          <dgm:bulletEnabled val="1"/>
        </dgm:presLayoutVars>
      </dgm:prSet>
      <dgm:spPr/>
      <dgm:t>
        <a:bodyPr/>
        <a:lstStyle/>
        <a:p>
          <a:endParaRPr lang="en-US"/>
        </a:p>
      </dgm:t>
    </dgm:pt>
    <dgm:pt modelId="{466AC490-D071-4234-9836-47199D9B5B7B}" type="pres">
      <dgm:prSet presAssocID="{108C3F06-2BE6-469A-A953-86638A5758E6}" presName="parallelogramComposite" presStyleCnt="0"/>
      <dgm:spPr/>
    </dgm:pt>
    <dgm:pt modelId="{7E31B040-266C-4DAC-B595-1E6EBC9F2DB0}" type="pres">
      <dgm:prSet presAssocID="{108C3F06-2BE6-469A-A953-86638A5758E6}" presName="parallelogram1" presStyleLbl="alignNode1" presStyleIdx="14" presStyleCnt="49"/>
      <dgm:spPr/>
    </dgm:pt>
    <dgm:pt modelId="{67CAF107-D9F5-4F95-957B-F02FA65B54C9}" type="pres">
      <dgm:prSet presAssocID="{108C3F06-2BE6-469A-A953-86638A5758E6}" presName="parallelogram2" presStyleLbl="alignNode1" presStyleIdx="15" presStyleCnt="49"/>
      <dgm:spPr/>
    </dgm:pt>
    <dgm:pt modelId="{23B2CE94-8403-4397-9AC7-35A337601967}" type="pres">
      <dgm:prSet presAssocID="{108C3F06-2BE6-469A-A953-86638A5758E6}" presName="parallelogram3" presStyleLbl="alignNode1" presStyleIdx="16" presStyleCnt="49"/>
      <dgm:spPr/>
    </dgm:pt>
    <dgm:pt modelId="{0CA14714-1A0C-4C0A-A5A6-D9207EAF19D0}" type="pres">
      <dgm:prSet presAssocID="{108C3F06-2BE6-469A-A953-86638A5758E6}" presName="parallelogram4" presStyleLbl="alignNode1" presStyleIdx="17" presStyleCnt="49"/>
      <dgm:spPr/>
    </dgm:pt>
    <dgm:pt modelId="{6B14238D-9540-4C16-8C42-C861F8BC1F2E}" type="pres">
      <dgm:prSet presAssocID="{108C3F06-2BE6-469A-A953-86638A5758E6}" presName="parallelogram5" presStyleLbl="alignNode1" presStyleIdx="18" presStyleCnt="49"/>
      <dgm:spPr/>
    </dgm:pt>
    <dgm:pt modelId="{64827FCD-F254-44A9-B832-35A6B3D33B46}" type="pres">
      <dgm:prSet presAssocID="{108C3F06-2BE6-469A-A953-86638A5758E6}" presName="parallelogram6" presStyleLbl="alignNode1" presStyleIdx="19" presStyleCnt="49"/>
      <dgm:spPr/>
    </dgm:pt>
    <dgm:pt modelId="{AF817272-940A-45CD-9BBF-FEC21B53898E}" type="pres">
      <dgm:prSet presAssocID="{108C3F06-2BE6-469A-A953-86638A5758E6}" presName="parallelogram7" presStyleLbl="alignNode1" presStyleIdx="20" presStyleCnt="49"/>
      <dgm:spPr/>
    </dgm:pt>
    <dgm:pt modelId="{221EA4A2-57F9-4561-A634-9D806BEA8EA6}" type="pres">
      <dgm:prSet presAssocID="{0044468E-97C0-438D-BBCB-2BDC19BBF441}" presName="sibTrans" presStyleCnt="0"/>
      <dgm:spPr/>
    </dgm:pt>
    <dgm:pt modelId="{3267AAA3-F2A6-40FC-81EF-D2E5721515AB}" type="pres">
      <dgm:prSet presAssocID="{6213E28C-AC7C-4EB2-AA9B-3CAC729BDBA6}" presName="parenttextcomposite" presStyleCnt="0"/>
      <dgm:spPr/>
    </dgm:pt>
    <dgm:pt modelId="{A07581C3-C40E-4963-AEED-012CE7CCC1E4}" type="pres">
      <dgm:prSet presAssocID="{6213E28C-AC7C-4EB2-AA9B-3CAC729BDBA6}" presName="parenttext" presStyleLbl="revTx" presStyleIdx="3" presStyleCnt="7">
        <dgm:presLayoutVars>
          <dgm:chMax/>
          <dgm:chPref val="2"/>
          <dgm:bulletEnabled val="1"/>
        </dgm:presLayoutVars>
      </dgm:prSet>
      <dgm:spPr/>
      <dgm:t>
        <a:bodyPr/>
        <a:lstStyle/>
        <a:p>
          <a:endParaRPr lang="en-US"/>
        </a:p>
      </dgm:t>
    </dgm:pt>
    <dgm:pt modelId="{894B384D-D96D-4A2A-B894-436CF16BD359}" type="pres">
      <dgm:prSet presAssocID="{6213E28C-AC7C-4EB2-AA9B-3CAC729BDBA6}" presName="parallelogramComposite" presStyleCnt="0"/>
      <dgm:spPr/>
    </dgm:pt>
    <dgm:pt modelId="{CAEF1B8C-15D5-4DA2-A414-DD9BE6517414}" type="pres">
      <dgm:prSet presAssocID="{6213E28C-AC7C-4EB2-AA9B-3CAC729BDBA6}" presName="parallelogram1" presStyleLbl="alignNode1" presStyleIdx="21" presStyleCnt="49"/>
      <dgm:spPr/>
    </dgm:pt>
    <dgm:pt modelId="{86D52A3A-F16E-478B-A9DA-B903750F509E}" type="pres">
      <dgm:prSet presAssocID="{6213E28C-AC7C-4EB2-AA9B-3CAC729BDBA6}" presName="parallelogram2" presStyleLbl="alignNode1" presStyleIdx="22" presStyleCnt="49"/>
      <dgm:spPr/>
    </dgm:pt>
    <dgm:pt modelId="{A332D379-ACC1-44DF-B61E-E243B549EA37}" type="pres">
      <dgm:prSet presAssocID="{6213E28C-AC7C-4EB2-AA9B-3CAC729BDBA6}" presName="parallelogram3" presStyleLbl="alignNode1" presStyleIdx="23" presStyleCnt="49"/>
      <dgm:spPr/>
    </dgm:pt>
    <dgm:pt modelId="{AB5F551E-E06D-40CB-908D-E84391463067}" type="pres">
      <dgm:prSet presAssocID="{6213E28C-AC7C-4EB2-AA9B-3CAC729BDBA6}" presName="parallelogram4" presStyleLbl="alignNode1" presStyleIdx="24" presStyleCnt="49"/>
      <dgm:spPr/>
    </dgm:pt>
    <dgm:pt modelId="{78487A14-84E2-44A5-91D4-7757FBB254EC}" type="pres">
      <dgm:prSet presAssocID="{6213E28C-AC7C-4EB2-AA9B-3CAC729BDBA6}" presName="parallelogram5" presStyleLbl="alignNode1" presStyleIdx="25" presStyleCnt="49"/>
      <dgm:spPr/>
    </dgm:pt>
    <dgm:pt modelId="{DD7A9DA2-DE8E-44B4-9DA3-221233B30AD5}" type="pres">
      <dgm:prSet presAssocID="{6213E28C-AC7C-4EB2-AA9B-3CAC729BDBA6}" presName="parallelogram6" presStyleLbl="alignNode1" presStyleIdx="26" presStyleCnt="49"/>
      <dgm:spPr/>
    </dgm:pt>
    <dgm:pt modelId="{A46B3F37-0EA4-4D66-8724-119EDD0349FC}" type="pres">
      <dgm:prSet presAssocID="{6213E28C-AC7C-4EB2-AA9B-3CAC729BDBA6}" presName="parallelogram7" presStyleLbl="alignNode1" presStyleIdx="27" presStyleCnt="49"/>
      <dgm:spPr/>
    </dgm:pt>
    <dgm:pt modelId="{D19AF956-CCE6-463F-882B-C8ED1979DC78}" type="pres">
      <dgm:prSet presAssocID="{9E03E659-522A-4C57-A2C5-E87EAF191E9F}" presName="sibTrans" presStyleCnt="0"/>
      <dgm:spPr/>
    </dgm:pt>
    <dgm:pt modelId="{923BEE44-943C-4B7D-A9CF-39D02933F500}" type="pres">
      <dgm:prSet presAssocID="{FCD67F30-3A94-47C8-9551-E2606C1CEC98}" presName="parenttextcomposite" presStyleCnt="0"/>
      <dgm:spPr/>
    </dgm:pt>
    <dgm:pt modelId="{9D017348-2EE0-4ED5-AED4-2D789601BA3B}" type="pres">
      <dgm:prSet presAssocID="{FCD67F30-3A94-47C8-9551-E2606C1CEC98}" presName="parenttext" presStyleLbl="revTx" presStyleIdx="4" presStyleCnt="7">
        <dgm:presLayoutVars>
          <dgm:chMax/>
          <dgm:chPref val="2"/>
          <dgm:bulletEnabled val="1"/>
        </dgm:presLayoutVars>
      </dgm:prSet>
      <dgm:spPr/>
      <dgm:t>
        <a:bodyPr/>
        <a:lstStyle/>
        <a:p>
          <a:endParaRPr lang="en-US"/>
        </a:p>
      </dgm:t>
    </dgm:pt>
    <dgm:pt modelId="{E8FA336B-B506-4DAB-B8C8-23CED4D8A62B}" type="pres">
      <dgm:prSet presAssocID="{FCD67F30-3A94-47C8-9551-E2606C1CEC98}" presName="parallelogramComposite" presStyleCnt="0"/>
      <dgm:spPr/>
    </dgm:pt>
    <dgm:pt modelId="{0888239F-5126-4216-9CC9-8743E638C8F7}" type="pres">
      <dgm:prSet presAssocID="{FCD67F30-3A94-47C8-9551-E2606C1CEC98}" presName="parallelogram1" presStyleLbl="alignNode1" presStyleIdx="28" presStyleCnt="49"/>
      <dgm:spPr/>
    </dgm:pt>
    <dgm:pt modelId="{178BC326-3695-4ABB-9629-22A1923C491A}" type="pres">
      <dgm:prSet presAssocID="{FCD67F30-3A94-47C8-9551-E2606C1CEC98}" presName="parallelogram2" presStyleLbl="alignNode1" presStyleIdx="29" presStyleCnt="49"/>
      <dgm:spPr/>
    </dgm:pt>
    <dgm:pt modelId="{26F35181-4C52-45FB-849C-BA4FDF1099A4}" type="pres">
      <dgm:prSet presAssocID="{FCD67F30-3A94-47C8-9551-E2606C1CEC98}" presName="parallelogram3" presStyleLbl="alignNode1" presStyleIdx="30" presStyleCnt="49"/>
      <dgm:spPr/>
    </dgm:pt>
    <dgm:pt modelId="{C7D3A743-6268-4CF3-9E53-299B1306E8CA}" type="pres">
      <dgm:prSet presAssocID="{FCD67F30-3A94-47C8-9551-E2606C1CEC98}" presName="parallelogram4" presStyleLbl="alignNode1" presStyleIdx="31" presStyleCnt="49"/>
      <dgm:spPr/>
    </dgm:pt>
    <dgm:pt modelId="{EE6AD04D-CB04-441C-B877-DE59DA081B81}" type="pres">
      <dgm:prSet presAssocID="{FCD67F30-3A94-47C8-9551-E2606C1CEC98}" presName="parallelogram5" presStyleLbl="alignNode1" presStyleIdx="32" presStyleCnt="49"/>
      <dgm:spPr/>
    </dgm:pt>
    <dgm:pt modelId="{CBF39373-FD4C-4597-A0B6-9F79012B53C7}" type="pres">
      <dgm:prSet presAssocID="{FCD67F30-3A94-47C8-9551-E2606C1CEC98}" presName="parallelogram6" presStyleLbl="alignNode1" presStyleIdx="33" presStyleCnt="49"/>
      <dgm:spPr/>
    </dgm:pt>
    <dgm:pt modelId="{DC1B388D-C535-4E6F-BA1C-6398238B47B5}" type="pres">
      <dgm:prSet presAssocID="{FCD67F30-3A94-47C8-9551-E2606C1CEC98}" presName="parallelogram7" presStyleLbl="alignNode1" presStyleIdx="34" presStyleCnt="49"/>
      <dgm:spPr/>
    </dgm:pt>
    <dgm:pt modelId="{9B8E572B-8077-497F-AC8E-E5CE38D000DB}" type="pres">
      <dgm:prSet presAssocID="{2C56C188-9261-4442-BE26-098884F6C74E}" presName="sibTrans" presStyleCnt="0"/>
      <dgm:spPr/>
    </dgm:pt>
    <dgm:pt modelId="{D6C8DA4B-7857-4FDF-B7B0-E2063186F537}" type="pres">
      <dgm:prSet presAssocID="{6D1AE815-C248-4D12-A4A6-ED5714A7394E}" presName="parenttextcomposite" presStyleCnt="0"/>
      <dgm:spPr/>
    </dgm:pt>
    <dgm:pt modelId="{215F2B1F-0693-409D-9836-E80D3622A5FB}" type="pres">
      <dgm:prSet presAssocID="{6D1AE815-C248-4D12-A4A6-ED5714A7394E}" presName="parenttext" presStyleLbl="revTx" presStyleIdx="5" presStyleCnt="7">
        <dgm:presLayoutVars>
          <dgm:chMax/>
          <dgm:chPref val="2"/>
          <dgm:bulletEnabled val="1"/>
        </dgm:presLayoutVars>
      </dgm:prSet>
      <dgm:spPr/>
      <dgm:t>
        <a:bodyPr/>
        <a:lstStyle/>
        <a:p>
          <a:endParaRPr lang="en-US"/>
        </a:p>
      </dgm:t>
    </dgm:pt>
    <dgm:pt modelId="{2AC4DFDA-F046-4B64-94D6-628822336484}" type="pres">
      <dgm:prSet presAssocID="{6D1AE815-C248-4D12-A4A6-ED5714A7394E}" presName="parallelogramComposite" presStyleCnt="0"/>
      <dgm:spPr/>
    </dgm:pt>
    <dgm:pt modelId="{9DC834B4-156E-4505-A343-E744E194705E}" type="pres">
      <dgm:prSet presAssocID="{6D1AE815-C248-4D12-A4A6-ED5714A7394E}" presName="parallelogram1" presStyleLbl="alignNode1" presStyleIdx="35" presStyleCnt="49"/>
      <dgm:spPr/>
    </dgm:pt>
    <dgm:pt modelId="{7A979D82-5866-4870-8980-0867C8057FBB}" type="pres">
      <dgm:prSet presAssocID="{6D1AE815-C248-4D12-A4A6-ED5714A7394E}" presName="parallelogram2" presStyleLbl="alignNode1" presStyleIdx="36" presStyleCnt="49"/>
      <dgm:spPr/>
    </dgm:pt>
    <dgm:pt modelId="{8964DBC0-70D6-48F5-9AB7-E7BADC144832}" type="pres">
      <dgm:prSet presAssocID="{6D1AE815-C248-4D12-A4A6-ED5714A7394E}" presName="parallelogram3" presStyleLbl="alignNode1" presStyleIdx="37" presStyleCnt="49"/>
      <dgm:spPr/>
    </dgm:pt>
    <dgm:pt modelId="{B3A9F453-3FEC-4055-9B8C-EA301949D0E3}" type="pres">
      <dgm:prSet presAssocID="{6D1AE815-C248-4D12-A4A6-ED5714A7394E}" presName="parallelogram4" presStyleLbl="alignNode1" presStyleIdx="38" presStyleCnt="49"/>
      <dgm:spPr/>
    </dgm:pt>
    <dgm:pt modelId="{1C644777-0B00-422F-AFAF-8C8DF3D022B1}" type="pres">
      <dgm:prSet presAssocID="{6D1AE815-C248-4D12-A4A6-ED5714A7394E}" presName="parallelogram5" presStyleLbl="alignNode1" presStyleIdx="39" presStyleCnt="49"/>
      <dgm:spPr/>
    </dgm:pt>
    <dgm:pt modelId="{09F2DBF2-9640-458F-9EC1-30FDFB8E533C}" type="pres">
      <dgm:prSet presAssocID="{6D1AE815-C248-4D12-A4A6-ED5714A7394E}" presName="parallelogram6" presStyleLbl="alignNode1" presStyleIdx="40" presStyleCnt="49"/>
      <dgm:spPr/>
    </dgm:pt>
    <dgm:pt modelId="{00F5C23B-3D3E-4DC5-AFF4-2AD98631964D}" type="pres">
      <dgm:prSet presAssocID="{6D1AE815-C248-4D12-A4A6-ED5714A7394E}" presName="parallelogram7" presStyleLbl="alignNode1" presStyleIdx="41" presStyleCnt="49"/>
      <dgm:spPr/>
    </dgm:pt>
    <dgm:pt modelId="{E28EBBBE-B98A-4977-88E7-4CCA0C202BED}" type="pres">
      <dgm:prSet presAssocID="{06C04FA7-98BF-4412-B919-EB207C67701B}" presName="sibTrans" presStyleCnt="0"/>
      <dgm:spPr/>
    </dgm:pt>
    <dgm:pt modelId="{F70BE7ED-1B13-4B8F-ABB7-381F8490490D}" type="pres">
      <dgm:prSet presAssocID="{096C065E-BAE4-4B3B-A8C9-E8014706131E}" presName="parenttextcomposite" presStyleCnt="0"/>
      <dgm:spPr/>
    </dgm:pt>
    <dgm:pt modelId="{A87304CE-ED8C-4BB5-A21A-E47E6913F993}" type="pres">
      <dgm:prSet presAssocID="{096C065E-BAE4-4B3B-A8C9-E8014706131E}" presName="parenttext" presStyleLbl="revTx" presStyleIdx="6" presStyleCnt="7">
        <dgm:presLayoutVars>
          <dgm:chMax/>
          <dgm:chPref val="2"/>
          <dgm:bulletEnabled val="1"/>
        </dgm:presLayoutVars>
      </dgm:prSet>
      <dgm:spPr/>
      <dgm:t>
        <a:bodyPr/>
        <a:lstStyle/>
        <a:p>
          <a:endParaRPr lang="en-US"/>
        </a:p>
      </dgm:t>
    </dgm:pt>
    <dgm:pt modelId="{EF3B8513-B606-4A7D-9F58-1B6EB5BC2F29}" type="pres">
      <dgm:prSet presAssocID="{096C065E-BAE4-4B3B-A8C9-E8014706131E}" presName="parallelogramComposite" presStyleCnt="0"/>
      <dgm:spPr/>
    </dgm:pt>
    <dgm:pt modelId="{AA8A0939-0ACC-45E4-93DF-FA2A126B2222}" type="pres">
      <dgm:prSet presAssocID="{096C065E-BAE4-4B3B-A8C9-E8014706131E}" presName="parallelogram1" presStyleLbl="alignNode1" presStyleIdx="42" presStyleCnt="49"/>
      <dgm:spPr/>
    </dgm:pt>
    <dgm:pt modelId="{FC641418-0660-402D-B7DE-2EBC622F8697}" type="pres">
      <dgm:prSet presAssocID="{096C065E-BAE4-4B3B-A8C9-E8014706131E}" presName="parallelogram2" presStyleLbl="alignNode1" presStyleIdx="43" presStyleCnt="49"/>
      <dgm:spPr/>
    </dgm:pt>
    <dgm:pt modelId="{8597BD87-CA26-4342-B328-A56163E7B118}" type="pres">
      <dgm:prSet presAssocID="{096C065E-BAE4-4B3B-A8C9-E8014706131E}" presName="parallelogram3" presStyleLbl="alignNode1" presStyleIdx="44" presStyleCnt="49"/>
      <dgm:spPr/>
    </dgm:pt>
    <dgm:pt modelId="{B7ED1CB0-3A52-4461-92C6-B2BD960E00E5}" type="pres">
      <dgm:prSet presAssocID="{096C065E-BAE4-4B3B-A8C9-E8014706131E}" presName="parallelogram4" presStyleLbl="alignNode1" presStyleIdx="45" presStyleCnt="49"/>
      <dgm:spPr/>
    </dgm:pt>
    <dgm:pt modelId="{A4EC1BB7-0AC2-44E4-B977-F43F7483516F}" type="pres">
      <dgm:prSet presAssocID="{096C065E-BAE4-4B3B-A8C9-E8014706131E}" presName="parallelogram5" presStyleLbl="alignNode1" presStyleIdx="46" presStyleCnt="49"/>
      <dgm:spPr/>
    </dgm:pt>
    <dgm:pt modelId="{2AAC0D68-26CE-4D3A-B877-F10FF5EC9FDC}" type="pres">
      <dgm:prSet presAssocID="{096C065E-BAE4-4B3B-A8C9-E8014706131E}" presName="parallelogram6" presStyleLbl="alignNode1" presStyleIdx="47" presStyleCnt="49"/>
      <dgm:spPr/>
    </dgm:pt>
    <dgm:pt modelId="{0B393AC6-4028-4660-8E43-DD7AFBEA56B2}" type="pres">
      <dgm:prSet presAssocID="{096C065E-BAE4-4B3B-A8C9-E8014706131E}" presName="parallelogram7" presStyleLbl="alignNode1" presStyleIdx="48" presStyleCnt="49"/>
      <dgm:spPr/>
    </dgm:pt>
  </dgm:ptLst>
  <dgm:cxnLst>
    <dgm:cxn modelId="{5579CA00-12AD-40D6-948F-466BC84D8572}" srcId="{FD3DB6FE-130F-4B68-90ED-6D10C919E344}" destId="{EAE84B09-56AA-4100-8BF9-26D5FEBD3903}" srcOrd="0" destOrd="0" parTransId="{3C4FFA50-EDAF-43AE-85BE-5ECFD119FF0A}" sibTransId="{E60D671A-7A21-46C9-BE93-0E9A3A30BF7B}"/>
    <dgm:cxn modelId="{D0005872-4DB3-426E-AD5E-48F7310CAA76}" type="presOf" srcId="{096C065E-BAE4-4B3B-A8C9-E8014706131E}" destId="{A87304CE-ED8C-4BB5-A21A-E47E6913F993}" srcOrd="0" destOrd="0" presId="urn:microsoft.com/office/officeart/2008/layout/VerticalAccentList"/>
    <dgm:cxn modelId="{A5BDD5C7-45AC-4659-B02D-72A77BEFCC01}" type="presOf" srcId="{6213E28C-AC7C-4EB2-AA9B-3CAC729BDBA6}" destId="{A07581C3-C40E-4963-AEED-012CE7CCC1E4}" srcOrd="0" destOrd="0" presId="urn:microsoft.com/office/officeart/2008/layout/VerticalAccentList"/>
    <dgm:cxn modelId="{7ADDBB86-EA04-46B6-981D-D5C3DC4DE2B5}" srcId="{FD3DB6FE-130F-4B68-90ED-6D10C919E344}" destId="{108C3F06-2BE6-469A-A953-86638A5758E6}" srcOrd="2" destOrd="0" parTransId="{5CC3205D-65D6-4816-A15D-287CFED9FD7A}" sibTransId="{0044468E-97C0-438D-BBCB-2BDC19BBF441}"/>
    <dgm:cxn modelId="{CBAB40A5-8C0C-46E6-8908-6F545756DACD}" type="presOf" srcId="{FD3DB6FE-130F-4B68-90ED-6D10C919E344}" destId="{1D9B425C-2F62-4234-BF52-C173A1F209F3}" srcOrd="0" destOrd="0" presId="urn:microsoft.com/office/officeart/2008/layout/VerticalAccentList"/>
    <dgm:cxn modelId="{9CEC906D-87EB-4226-BDA8-09062A176CC9}" type="presOf" srcId="{FCD67F30-3A94-47C8-9551-E2606C1CEC98}" destId="{9D017348-2EE0-4ED5-AED4-2D789601BA3B}" srcOrd="0" destOrd="0" presId="urn:microsoft.com/office/officeart/2008/layout/VerticalAccentList"/>
    <dgm:cxn modelId="{1E6D1923-2CEA-4783-AA70-FCE61D0BFEA1}" type="presOf" srcId="{191F4DF4-1163-45ED-A5F7-96B951A40EFF}" destId="{2D1C923F-2A7A-4B70-94D1-0133DB1E3762}" srcOrd="0" destOrd="0" presId="urn:microsoft.com/office/officeart/2008/layout/VerticalAccentList"/>
    <dgm:cxn modelId="{9BB9C10F-83BD-4281-AD4C-CC501381E617}" srcId="{FD3DB6FE-130F-4B68-90ED-6D10C919E344}" destId="{191F4DF4-1163-45ED-A5F7-96B951A40EFF}" srcOrd="1" destOrd="0" parTransId="{C731D771-F620-4B2C-9EC8-261E95434C91}" sibTransId="{5831665D-6304-42ED-B6E7-948DC17B5E42}"/>
    <dgm:cxn modelId="{D6F82B15-F236-4B2B-8715-3685D5075FC4}" type="presOf" srcId="{108C3F06-2BE6-469A-A953-86638A5758E6}" destId="{812A3030-8920-4190-A37A-883797A79122}" srcOrd="0" destOrd="0" presId="urn:microsoft.com/office/officeart/2008/layout/VerticalAccentList"/>
    <dgm:cxn modelId="{A2AC50DC-352B-4DE7-8638-E12821FDC2DD}" srcId="{FD3DB6FE-130F-4B68-90ED-6D10C919E344}" destId="{096C065E-BAE4-4B3B-A8C9-E8014706131E}" srcOrd="6" destOrd="0" parTransId="{218997BF-3E8C-4589-BC26-E679C0864EE1}" sibTransId="{CCFCA0FD-6740-4CB5-B625-B659CE537B8B}"/>
    <dgm:cxn modelId="{AEA4CDD8-DE1E-40C9-94C9-1FDE8989AB8E}" type="presOf" srcId="{6D1AE815-C248-4D12-A4A6-ED5714A7394E}" destId="{215F2B1F-0693-409D-9836-E80D3622A5FB}" srcOrd="0" destOrd="0" presId="urn:microsoft.com/office/officeart/2008/layout/VerticalAccentList"/>
    <dgm:cxn modelId="{04218DB7-E82A-4E6A-9AF0-25AC99095EC8}" srcId="{FD3DB6FE-130F-4B68-90ED-6D10C919E344}" destId="{FCD67F30-3A94-47C8-9551-E2606C1CEC98}" srcOrd="4" destOrd="0" parTransId="{2EC7A8D4-0344-438A-84A9-92F28300F1EF}" sibTransId="{2C56C188-9261-4442-BE26-098884F6C74E}"/>
    <dgm:cxn modelId="{BCAA952F-DB1D-4822-889E-CAACAE4B4AF0}" srcId="{FD3DB6FE-130F-4B68-90ED-6D10C919E344}" destId="{6D1AE815-C248-4D12-A4A6-ED5714A7394E}" srcOrd="5" destOrd="0" parTransId="{9A70A239-03B2-4484-AD41-22A097E2E04A}" sibTransId="{06C04FA7-98BF-4412-B919-EB207C67701B}"/>
    <dgm:cxn modelId="{D7B07B49-DE55-4365-851A-9FE3EED94C05}" type="presOf" srcId="{EAE84B09-56AA-4100-8BF9-26D5FEBD3903}" destId="{C4C7AF1C-E70B-4D0E-A227-CA35A5F398DA}" srcOrd="0" destOrd="0" presId="urn:microsoft.com/office/officeart/2008/layout/VerticalAccentList"/>
    <dgm:cxn modelId="{09A11A55-2A28-4B99-8BDB-C29B0C7428EE}" srcId="{FD3DB6FE-130F-4B68-90ED-6D10C919E344}" destId="{6213E28C-AC7C-4EB2-AA9B-3CAC729BDBA6}" srcOrd="3" destOrd="0" parTransId="{E46F9318-3AEF-486B-A97D-6869714CE528}" sibTransId="{9E03E659-522A-4C57-A2C5-E87EAF191E9F}"/>
    <dgm:cxn modelId="{5EFD5220-78CE-469F-A7D7-FC0FE2ED1C94}" type="presParOf" srcId="{1D9B425C-2F62-4234-BF52-C173A1F209F3}" destId="{B16467C6-63A1-4AF3-ADBB-7B93BD3C04D7}" srcOrd="0" destOrd="0" presId="urn:microsoft.com/office/officeart/2008/layout/VerticalAccentList"/>
    <dgm:cxn modelId="{6A8B3BD6-0A0B-4C1F-9A73-18CA2373937F}" type="presParOf" srcId="{B16467C6-63A1-4AF3-ADBB-7B93BD3C04D7}" destId="{C4C7AF1C-E70B-4D0E-A227-CA35A5F398DA}" srcOrd="0" destOrd="0" presId="urn:microsoft.com/office/officeart/2008/layout/VerticalAccentList"/>
    <dgm:cxn modelId="{C4E2F630-3613-4F19-84DF-4D5362D70908}" type="presParOf" srcId="{1D9B425C-2F62-4234-BF52-C173A1F209F3}" destId="{37D95AE5-4C14-4CA9-A617-3293D7435827}" srcOrd="1" destOrd="0" presId="urn:microsoft.com/office/officeart/2008/layout/VerticalAccentList"/>
    <dgm:cxn modelId="{A9D7E309-1B1F-4957-89DD-5B1C0590C856}" type="presParOf" srcId="{37D95AE5-4C14-4CA9-A617-3293D7435827}" destId="{A71E7674-9986-4172-8E5D-5B58CED9CA1D}" srcOrd="0" destOrd="0" presId="urn:microsoft.com/office/officeart/2008/layout/VerticalAccentList"/>
    <dgm:cxn modelId="{7D962339-771B-4E09-8AC7-98DDD683D9C5}" type="presParOf" srcId="{37D95AE5-4C14-4CA9-A617-3293D7435827}" destId="{3E546E54-29AC-4651-B635-39DD896CB898}" srcOrd="1" destOrd="0" presId="urn:microsoft.com/office/officeart/2008/layout/VerticalAccentList"/>
    <dgm:cxn modelId="{35B8C4E9-3927-4E5A-AD53-79616C5DD5E1}" type="presParOf" srcId="{37D95AE5-4C14-4CA9-A617-3293D7435827}" destId="{C1523ED4-6CC6-405E-BC71-885C259553E1}" srcOrd="2" destOrd="0" presId="urn:microsoft.com/office/officeart/2008/layout/VerticalAccentList"/>
    <dgm:cxn modelId="{1C32750E-6C9F-4EBE-9134-C5A41DCD54E8}" type="presParOf" srcId="{37D95AE5-4C14-4CA9-A617-3293D7435827}" destId="{1B64CB08-BCE5-4718-8CEA-6EB227045853}" srcOrd="3" destOrd="0" presId="urn:microsoft.com/office/officeart/2008/layout/VerticalAccentList"/>
    <dgm:cxn modelId="{D680EF73-88A4-4B60-84DF-69F9CBAEBD4C}" type="presParOf" srcId="{37D95AE5-4C14-4CA9-A617-3293D7435827}" destId="{B389BB41-6F59-4B63-BD88-D78DA7C7F33E}" srcOrd="4" destOrd="0" presId="urn:microsoft.com/office/officeart/2008/layout/VerticalAccentList"/>
    <dgm:cxn modelId="{DF6D1C7A-9AA0-446A-9751-D86B916F575E}" type="presParOf" srcId="{37D95AE5-4C14-4CA9-A617-3293D7435827}" destId="{95B0E095-FBDB-469F-8451-02E60563F4E3}" srcOrd="5" destOrd="0" presId="urn:microsoft.com/office/officeart/2008/layout/VerticalAccentList"/>
    <dgm:cxn modelId="{2B2A7DB2-CD31-404A-9269-48DDBB00A8C7}" type="presParOf" srcId="{37D95AE5-4C14-4CA9-A617-3293D7435827}" destId="{23498581-DDBA-45B9-89B8-2AD562C5CA70}" srcOrd="6" destOrd="0" presId="urn:microsoft.com/office/officeart/2008/layout/VerticalAccentList"/>
    <dgm:cxn modelId="{4822B865-1A33-4558-AB2C-BA4F71E79C86}" type="presParOf" srcId="{1D9B425C-2F62-4234-BF52-C173A1F209F3}" destId="{9DCD06C3-30BE-438C-A7D3-03EDA8A7D8EC}" srcOrd="2" destOrd="0" presId="urn:microsoft.com/office/officeart/2008/layout/VerticalAccentList"/>
    <dgm:cxn modelId="{270AF022-6986-4C14-AFB2-5F4BF39D0F14}" type="presParOf" srcId="{1D9B425C-2F62-4234-BF52-C173A1F209F3}" destId="{4F20B756-45AC-41D6-8AC4-5AAA0BD9131F}" srcOrd="3" destOrd="0" presId="urn:microsoft.com/office/officeart/2008/layout/VerticalAccentList"/>
    <dgm:cxn modelId="{7EAE49CA-2F6A-4667-BBF6-F9292594AED4}" type="presParOf" srcId="{4F20B756-45AC-41D6-8AC4-5AAA0BD9131F}" destId="{2D1C923F-2A7A-4B70-94D1-0133DB1E3762}" srcOrd="0" destOrd="0" presId="urn:microsoft.com/office/officeart/2008/layout/VerticalAccentList"/>
    <dgm:cxn modelId="{033F4B9F-0E31-4554-B4C6-00965923F8AF}" type="presParOf" srcId="{1D9B425C-2F62-4234-BF52-C173A1F209F3}" destId="{ADEB1F2C-3707-4497-8A91-79B117DA1BC6}" srcOrd="4" destOrd="0" presId="urn:microsoft.com/office/officeart/2008/layout/VerticalAccentList"/>
    <dgm:cxn modelId="{650F95E4-37AC-485E-8496-93DEEFF70E29}" type="presParOf" srcId="{ADEB1F2C-3707-4497-8A91-79B117DA1BC6}" destId="{AF2DE573-BD02-4E7F-9DD5-2771A60D6B64}" srcOrd="0" destOrd="0" presId="urn:microsoft.com/office/officeart/2008/layout/VerticalAccentList"/>
    <dgm:cxn modelId="{92BB6E3E-A821-4B9D-9BB6-FF2612CE9DD0}" type="presParOf" srcId="{ADEB1F2C-3707-4497-8A91-79B117DA1BC6}" destId="{4F7FAC64-C37C-4323-913D-D4A88FE9F9EC}" srcOrd="1" destOrd="0" presId="urn:microsoft.com/office/officeart/2008/layout/VerticalAccentList"/>
    <dgm:cxn modelId="{49452886-8625-4008-B009-FD381029BB45}" type="presParOf" srcId="{ADEB1F2C-3707-4497-8A91-79B117DA1BC6}" destId="{E4F62D0C-792A-4EC1-B404-CCB490F3F6F3}" srcOrd="2" destOrd="0" presId="urn:microsoft.com/office/officeart/2008/layout/VerticalAccentList"/>
    <dgm:cxn modelId="{A375A0B9-A747-4660-B450-0D690BB9F022}" type="presParOf" srcId="{ADEB1F2C-3707-4497-8A91-79B117DA1BC6}" destId="{AFF35C6C-5856-4DCB-BA7B-E887A58BCACF}" srcOrd="3" destOrd="0" presId="urn:microsoft.com/office/officeart/2008/layout/VerticalAccentList"/>
    <dgm:cxn modelId="{665F426E-8D7A-49CC-8286-7B976D4FC814}" type="presParOf" srcId="{ADEB1F2C-3707-4497-8A91-79B117DA1BC6}" destId="{F1108FF4-5909-4299-B430-F3BDE96F4B0F}" srcOrd="4" destOrd="0" presId="urn:microsoft.com/office/officeart/2008/layout/VerticalAccentList"/>
    <dgm:cxn modelId="{32D957AD-9542-42D7-AEF6-639695E929EF}" type="presParOf" srcId="{ADEB1F2C-3707-4497-8A91-79B117DA1BC6}" destId="{823C22FE-6991-4B50-8974-A6356AE1C3C4}" srcOrd="5" destOrd="0" presId="urn:microsoft.com/office/officeart/2008/layout/VerticalAccentList"/>
    <dgm:cxn modelId="{7C36AB66-F3F3-4252-B849-53EA77A6AA72}" type="presParOf" srcId="{ADEB1F2C-3707-4497-8A91-79B117DA1BC6}" destId="{50D4B161-6A4A-4D73-BEF5-185ADD3D721C}" srcOrd="6" destOrd="0" presId="urn:microsoft.com/office/officeart/2008/layout/VerticalAccentList"/>
    <dgm:cxn modelId="{2F3FCD4D-DEC0-4D4F-AD28-D4BB0D37795E}" type="presParOf" srcId="{1D9B425C-2F62-4234-BF52-C173A1F209F3}" destId="{D69300A9-A255-40B3-8A89-F3A9ED3BA852}" srcOrd="5" destOrd="0" presId="urn:microsoft.com/office/officeart/2008/layout/VerticalAccentList"/>
    <dgm:cxn modelId="{B3B68276-8191-46FB-BBE6-36B39820E49C}" type="presParOf" srcId="{1D9B425C-2F62-4234-BF52-C173A1F209F3}" destId="{4E5A71E3-0869-4D2F-ACE0-D69DF8A61F01}" srcOrd="6" destOrd="0" presId="urn:microsoft.com/office/officeart/2008/layout/VerticalAccentList"/>
    <dgm:cxn modelId="{262A7ADE-A487-4FD8-9BAC-F2A1125F1CA3}" type="presParOf" srcId="{4E5A71E3-0869-4D2F-ACE0-D69DF8A61F01}" destId="{812A3030-8920-4190-A37A-883797A79122}" srcOrd="0" destOrd="0" presId="urn:microsoft.com/office/officeart/2008/layout/VerticalAccentList"/>
    <dgm:cxn modelId="{8D28CC56-A371-488E-A376-8B7A77A8935B}" type="presParOf" srcId="{1D9B425C-2F62-4234-BF52-C173A1F209F3}" destId="{466AC490-D071-4234-9836-47199D9B5B7B}" srcOrd="7" destOrd="0" presId="urn:microsoft.com/office/officeart/2008/layout/VerticalAccentList"/>
    <dgm:cxn modelId="{66E1B705-8A6D-48B6-8902-633CB0E13CC2}" type="presParOf" srcId="{466AC490-D071-4234-9836-47199D9B5B7B}" destId="{7E31B040-266C-4DAC-B595-1E6EBC9F2DB0}" srcOrd="0" destOrd="0" presId="urn:microsoft.com/office/officeart/2008/layout/VerticalAccentList"/>
    <dgm:cxn modelId="{48B5F68A-5646-4DED-8CFF-47AE2CB35692}" type="presParOf" srcId="{466AC490-D071-4234-9836-47199D9B5B7B}" destId="{67CAF107-D9F5-4F95-957B-F02FA65B54C9}" srcOrd="1" destOrd="0" presId="urn:microsoft.com/office/officeart/2008/layout/VerticalAccentList"/>
    <dgm:cxn modelId="{5DB8F869-887D-4D7A-B720-E4C942431D10}" type="presParOf" srcId="{466AC490-D071-4234-9836-47199D9B5B7B}" destId="{23B2CE94-8403-4397-9AC7-35A337601967}" srcOrd="2" destOrd="0" presId="urn:microsoft.com/office/officeart/2008/layout/VerticalAccentList"/>
    <dgm:cxn modelId="{8A78322F-8070-423B-85AF-3F4C2BBA59F6}" type="presParOf" srcId="{466AC490-D071-4234-9836-47199D9B5B7B}" destId="{0CA14714-1A0C-4C0A-A5A6-D9207EAF19D0}" srcOrd="3" destOrd="0" presId="urn:microsoft.com/office/officeart/2008/layout/VerticalAccentList"/>
    <dgm:cxn modelId="{BD2CF241-A49D-495F-BCAC-5457398F4F8F}" type="presParOf" srcId="{466AC490-D071-4234-9836-47199D9B5B7B}" destId="{6B14238D-9540-4C16-8C42-C861F8BC1F2E}" srcOrd="4" destOrd="0" presId="urn:microsoft.com/office/officeart/2008/layout/VerticalAccentList"/>
    <dgm:cxn modelId="{5F095D65-C039-4545-AA46-BC8BAF51F631}" type="presParOf" srcId="{466AC490-D071-4234-9836-47199D9B5B7B}" destId="{64827FCD-F254-44A9-B832-35A6B3D33B46}" srcOrd="5" destOrd="0" presId="urn:microsoft.com/office/officeart/2008/layout/VerticalAccentList"/>
    <dgm:cxn modelId="{A9540CEE-1905-4792-951F-ED83097801C8}" type="presParOf" srcId="{466AC490-D071-4234-9836-47199D9B5B7B}" destId="{AF817272-940A-45CD-9BBF-FEC21B53898E}" srcOrd="6" destOrd="0" presId="urn:microsoft.com/office/officeart/2008/layout/VerticalAccentList"/>
    <dgm:cxn modelId="{5D1684B2-AE56-4F30-A327-203B8E355E5D}" type="presParOf" srcId="{1D9B425C-2F62-4234-BF52-C173A1F209F3}" destId="{221EA4A2-57F9-4561-A634-9D806BEA8EA6}" srcOrd="8" destOrd="0" presId="urn:microsoft.com/office/officeart/2008/layout/VerticalAccentList"/>
    <dgm:cxn modelId="{48FAF8A9-E3D0-4A72-8064-143FDE845BDF}" type="presParOf" srcId="{1D9B425C-2F62-4234-BF52-C173A1F209F3}" destId="{3267AAA3-F2A6-40FC-81EF-D2E5721515AB}" srcOrd="9" destOrd="0" presId="urn:microsoft.com/office/officeart/2008/layout/VerticalAccentList"/>
    <dgm:cxn modelId="{3192BB55-5158-4374-B14C-FFFF63FFEE92}" type="presParOf" srcId="{3267AAA3-F2A6-40FC-81EF-D2E5721515AB}" destId="{A07581C3-C40E-4963-AEED-012CE7CCC1E4}" srcOrd="0" destOrd="0" presId="urn:microsoft.com/office/officeart/2008/layout/VerticalAccentList"/>
    <dgm:cxn modelId="{D8A55967-9C09-4759-BA89-405BFD03A612}" type="presParOf" srcId="{1D9B425C-2F62-4234-BF52-C173A1F209F3}" destId="{894B384D-D96D-4A2A-B894-436CF16BD359}" srcOrd="10" destOrd="0" presId="urn:microsoft.com/office/officeart/2008/layout/VerticalAccentList"/>
    <dgm:cxn modelId="{A53DC6F3-2ACE-401A-8A8C-A2DDB8B75409}" type="presParOf" srcId="{894B384D-D96D-4A2A-B894-436CF16BD359}" destId="{CAEF1B8C-15D5-4DA2-A414-DD9BE6517414}" srcOrd="0" destOrd="0" presId="urn:microsoft.com/office/officeart/2008/layout/VerticalAccentList"/>
    <dgm:cxn modelId="{0E8D6523-4B08-487C-B869-4D6C7C57D1DE}" type="presParOf" srcId="{894B384D-D96D-4A2A-B894-436CF16BD359}" destId="{86D52A3A-F16E-478B-A9DA-B903750F509E}" srcOrd="1" destOrd="0" presId="urn:microsoft.com/office/officeart/2008/layout/VerticalAccentList"/>
    <dgm:cxn modelId="{1D49350D-8641-4BBD-BA77-F25835EF0FE9}" type="presParOf" srcId="{894B384D-D96D-4A2A-B894-436CF16BD359}" destId="{A332D379-ACC1-44DF-B61E-E243B549EA37}" srcOrd="2" destOrd="0" presId="urn:microsoft.com/office/officeart/2008/layout/VerticalAccentList"/>
    <dgm:cxn modelId="{6BF12CDB-576B-430D-94BD-E9F9758CE53D}" type="presParOf" srcId="{894B384D-D96D-4A2A-B894-436CF16BD359}" destId="{AB5F551E-E06D-40CB-908D-E84391463067}" srcOrd="3" destOrd="0" presId="urn:microsoft.com/office/officeart/2008/layout/VerticalAccentList"/>
    <dgm:cxn modelId="{63042FD5-FED9-4965-BC13-033CB3FD1E41}" type="presParOf" srcId="{894B384D-D96D-4A2A-B894-436CF16BD359}" destId="{78487A14-84E2-44A5-91D4-7757FBB254EC}" srcOrd="4" destOrd="0" presId="urn:microsoft.com/office/officeart/2008/layout/VerticalAccentList"/>
    <dgm:cxn modelId="{887D0CAD-883C-48BA-833D-487A020968D0}" type="presParOf" srcId="{894B384D-D96D-4A2A-B894-436CF16BD359}" destId="{DD7A9DA2-DE8E-44B4-9DA3-221233B30AD5}" srcOrd="5" destOrd="0" presId="urn:microsoft.com/office/officeart/2008/layout/VerticalAccentList"/>
    <dgm:cxn modelId="{6D754748-3DFA-4756-9ECC-4365538FD88F}" type="presParOf" srcId="{894B384D-D96D-4A2A-B894-436CF16BD359}" destId="{A46B3F37-0EA4-4D66-8724-119EDD0349FC}" srcOrd="6" destOrd="0" presId="urn:microsoft.com/office/officeart/2008/layout/VerticalAccentList"/>
    <dgm:cxn modelId="{32EEB205-A0CF-4D69-ABF0-1F137B1BF9EF}" type="presParOf" srcId="{1D9B425C-2F62-4234-BF52-C173A1F209F3}" destId="{D19AF956-CCE6-463F-882B-C8ED1979DC78}" srcOrd="11" destOrd="0" presId="urn:microsoft.com/office/officeart/2008/layout/VerticalAccentList"/>
    <dgm:cxn modelId="{C11DAAD5-B687-46F2-BEE5-4EEDBE7B46A0}" type="presParOf" srcId="{1D9B425C-2F62-4234-BF52-C173A1F209F3}" destId="{923BEE44-943C-4B7D-A9CF-39D02933F500}" srcOrd="12" destOrd="0" presId="urn:microsoft.com/office/officeart/2008/layout/VerticalAccentList"/>
    <dgm:cxn modelId="{96C338B3-7404-4E2B-8264-4A30E4510C5E}" type="presParOf" srcId="{923BEE44-943C-4B7D-A9CF-39D02933F500}" destId="{9D017348-2EE0-4ED5-AED4-2D789601BA3B}" srcOrd="0" destOrd="0" presId="urn:microsoft.com/office/officeart/2008/layout/VerticalAccentList"/>
    <dgm:cxn modelId="{95C19A1A-99B7-405D-B3C7-6E50FA8D749C}" type="presParOf" srcId="{1D9B425C-2F62-4234-BF52-C173A1F209F3}" destId="{E8FA336B-B506-4DAB-B8C8-23CED4D8A62B}" srcOrd="13" destOrd="0" presId="urn:microsoft.com/office/officeart/2008/layout/VerticalAccentList"/>
    <dgm:cxn modelId="{F72FC205-C1DF-4687-8314-E4B8C66173CE}" type="presParOf" srcId="{E8FA336B-B506-4DAB-B8C8-23CED4D8A62B}" destId="{0888239F-5126-4216-9CC9-8743E638C8F7}" srcOrd="0" destOrd="0" presId="urn:microsoft.com/office/officeart/2008/layout/VerticalAccentList"/>
    <dgm:cxn modelId="{9A9153A0-BD0B-4827-A601-88D28A62A7AB}" type="presParOf" srcId="{E8FA336B-B506-4DAB-B8C8-23CED4D8A62B}" destId="{178BC326-3695-4ABB-9629-22A1923C491A}" srcOrd="1" destOrd="0" presId="urn:microsoft.com/office/officeart/2008/layout/VerticalAccentList"/>
    <dgm:cxn modelId="{B11ECB12-D5EC-4185-A5EB-B37639120E97}" type="presParOf" srcId="{E8FA336B-B506-4DAB-B8C8-23CED4D8A62B}" destId="{26F35181-4C52-45FB-849C-BA4FDF1099A4}" srcOrd="2" destOrd="0" presId="urn:microsoft.com/office/officeart/2008/layout/VerticalAccentList"/>
    <dgm:cxn modelId="{26DD5090-D1B0-4342-88E6-3BF2DA774A94}" type="presParOf" srcId="{E8FA336B-B506-4DAB-B8C8-23CED4D8A62B}" destId="{C7D3A743-6268-4CF3-9E53-299B1306E8CA}" srcOrd="3" destOrd="0" presId="urn:microsoft.com/office/officeart/2008/layout/VerticalAccentList"/>
    <dgm:cxn modelId="{6376F29E-8043-42D1-A6A6-9F1CB3C1C1AC}" type="presParOf" srcId="{E8FA336B-B506-4DAB-B8C8-23CED4D8A62B}" destId="{EE6AD04D-CB04-441C-B877-DE59DA081B81}" srcOrd="4" destOrd="0" presId="urn:microsoft.com/office/officeart/2008/layout/VerticalAccentList"/>
    <dgm:cxn modelId="{FC2D376F-F22F-41BB-B2DE-C3CB30DC9027}" type="presParOf" srcId="{E8FA336B-B506-4DAB-B8C8-23CED4D8A62B}" destId="{CBF39373-FD4C-4597-A0B6-9F79012B53C7}" srcOrd="5" destOrd="0" presId="urn:microsoft.com/office/officeart/2008/layout/VerticalAccentList"/>
    <dgm:cxn modelId="{04B97E68-CB2C-46DB-B678-D4ED09BBD4DF}" type="presParOf" srcId="{E8FA336B-B506-4DAB-B8C8-23CED4D8A62B}" destId="{DC1B388D-C535-4E6F-BA1C-6398238B47B5}" srcOrd="6" destOrd="0" presId="urn:microsoft.com/office/officeart/2008/layout/VerticalAccentList"/>
    <dgm:cxn modelId="{5CA767C3-B2C6-466C-AA57-081FD4320797}" type="presParOf" srcId="{1D9B425C-2F62-4234-BF52-C173A1F209F3}" destId="{9B8E572B-8077-497F-AC8E-E5CE38D000DB}" srcOrd="14" destOrd="0" presId="urn:microsoft.com/office/officeart/2008/layout/VerticalAccentList"/>
    <dgm:cxn modelId="{311924C8-8554-4616-845C-DFB6846FD6EC}" type="presParOf" srcId="{1D9B425C-2F62-4234-BF52-C173A1F209F3}" destId="{D6C8DA4B-7857-4FDF-B7B0-E2063186F537}" srcOrd="15" destOrd="0" presId="urn:microsoft.com/office/officeart/2008/layout/VerticalAccentList"/>
    <dgm:cxn modelId="{E0BDB25A-9F13-48C1-BDAE-CA0EF9B5CB73}" type="presParOf" srcId="{D6C8DA4B-7857-4FDF-B7B0-E2063186F537}" destId="{215F2B1F-0693-409D-9836-E80D3622A5FB}" srcOrd="0" destOrd="0" presId="urn:microsoft.com/office/officeart/2008/layout/VerticalAccentList"/>
    <dgm:cxn modelId="{D8983F2D-7D62-471B-A2A7-57DAABBF6CF6}" type="presParOf" srcId="{1D9B425C-2F62-4234-BF52-C173A1F209F3}" destId="{2AC4DFDA-F046-4B64-94D6-628822336484}" srcOrd="16" destOrd="0" presId="urn:microsoft.com/office/officeart/2008/layout/VerticalAccentList"/>
    <dgm:cxn modelId="{C1885D95-AFC3-44B7-8B92-BDD217AF9E30}" type="presParOf" srcId="{2AC4DFDA-F046-4B64-94D6-628822336484}" destId="{9DC834B4-156E-4505-A343-E744E194705E}" srcOrd="0" destOrd="0" presId="urn:microsoft.com/office/officeart/2008/layout/VerticalAccentList"/>
    <dgm:cxn modelId="{AE52D65B-4F40-4D7E-A90D-0A9D4511531A}" type="presParOf" srcId="{2AC4DFDA-F046-4B64-94D6-628822336484}" destId="{7A979D82-5866-4870-8980-0867C8057FBB}" srcOrd="1" destOrd="0" presId="urn:microsoft.com/office/officeart/2008/layout/VerticalAccentList"/>
    <dgm:cxn modelId="{F0A5ECE0-C472-435F-82F6-0C0849919682}" type="presParOf" srcId="{2AC4DFDA-F046-4B64-94D6-628822336484}" destId="{8964DBC0-70D6-48F5-9AB7-E7BADC144832}" srcOrd="2" destOrd="0" presId="urn:microsoft.com/office/officeart/2008/layout/VerticalAccentList"/>
    <dgm:cxn modelId="{8BCDF3A7-76EC-4E21-9FFF-D3F45B443A6B}" type="presParOf" srcId="{2AC4DFDA-F046-4B64-94D6-628822336484}" destId="{B3A9F453-3FEC-4055-9B8C-EA301949D0E3}" srcOrd="3" destOrd="0" presId="urn:microsoft.com/office/officeart/2008/layout/VerticalAccentList"/>
    <dgm:cxn modelId="{54C926DB-55AB-4C8C-AD34-15C9440C7364}" type="presParOf" srcId="{2AC4DFDA-F046-4B64-94D6-628822336484}" destId="{1C644777-0B00-422F-AFAF-8C8DF3D022B1}" srcOrd="4" destOrd="0" presId="urn:microsoft.com/office/officeart/2008/layout/VerticalAccentList"/>
    <dgm:cxn modelId="{179ED0B0-FDCE-4995-9A85-F534DCB35CAB}" type="presParOf" srcId="{2AC4DFDA-F046-4B64-94D6-628822336484}" destId="{09F2DBF2-9640-458F-9EC1-30FDFB8E533C}" srcOrd="5" destOrd="0" presId="urn:microsoft.com/office/officeart/2008/layout/VerticalAccentList"/>
    <dgm:cxn modelId="{6F9E168E-8F0A-4C9B-8F5F-36B57C931E6F}" type="presParOf" srcId="{2AC4DFDA-F046-4B64-94D6-628822336484}" destId="{00F5C23B-3D3E-4DC5-AFF4-2AD98631964D}" srcOrd="6" destOrd="0" presId="urn:microsoft.com/office/officeart/2008/layout/VerticalAccentList"/>
    <dgm:cxn modelId="{0E11CFAE-CFFB-438F-8AD1-C2A92A628370}" type="presParOf" srcId="{1D9B425C-2F62-4234-BF52-C173A1F209F3}" destId="{E28EBBBE-B98A-4977-88E7-4CCA0C202BED}" srcOrd="17" destOrd="0" presId="urn:microsoft.com/office/officeart/2008/layout/VerticalAccentList"/>
    <dgm:cxn modelId="{7F9AEFD6-0BEA-4C5B-9A17-7790A1574BB3}" type="presParOf" srcId="{1D9B425C-2F62-4234-BF52-C173A1F209F3}" destId="{F70BE7ED-1B13-4B8F-ABB7-381F8490490D}" srcOrd="18" destOrd="0" presId="urn:microsoft.com/office/officeart/2008/layout/VerticalAccentList"/>
    <dgm:cxn modelId="{6879ECD9-D141-495C-8219-3270AB618165}" type="presParOf" srcId="{F70BE7ED-1B13-4B8F-ABB7-381F8490490D}" destId="{A87304CE-ED8C-4BB5-A21A-E47E6913F993}" srcOrd="0" destOrd="0" presId="urn:microsoft.com/office/officeart/2008/layout/VerticalAccentList"/>
    <dgm:cxn modelId="{C6EA1223-C86B-46C2-BE07-9553D7886BD6}" type="presParOf" srcId="{1D9B425C-2F62-4234-BF52-C173A1F209F3}" destId="{EF3B8513-B606-4A7D-9F58-1B6EB5BC2F29}" srcOrd="19" destOrd="0" presId="urn:microsoft.com/office/officeart/2008/layout/VerticalAccentList"/>
    <dgm:cxn modelId="{0A891911-0F2D-4183-973B-1F280E108B14}" type="presParOf" srcId="{EF3B8513-B606-4A7D-9F58-1B6EB5BC2F29}" destId="{AA8A0939-0ACC-45E4-93DF-FA2A126B2222}" srcOrd="0" destOrd="0" presId="urn:microsoft.com/office/officeart/2008/layout/VerticalAccentList"/>
    <dgm:cxn modelId="{51A0B9A4-C448-42D7-A4C0-DD62F870D42F}" type="presParOf" srcId="{EF3B8513-B606-4A7D-9F58-1B6EB5BC2F29}" destId="{FC641418-0660-402D-B7DE-2EBC622F8697}" srcOrd="1" destOrd="0" presId="urn:microsoft.com/office/officeart/2008/layout/VerticalAccentList"/>
    <dgm:cxn modelId="{9D94F29C-72D5-482C-8AAA-92B54F3AAEF7}" type="presParOf" srcId="{EF3B8513-B606-4A7D-9F58-1B6EB5BC2F29}" destId="{8597BD87-CA26-4342-B328-A56163E7B118}" srcOrd="2" destOrd="0" presId="urn:microsoft.com/office/officeart/2008/layout/VerticalAccentList"/>
    <dgm:cxn modelId="{ACA18CAA-5179-46DA-89BA-7E63E9D500C9}" type="presParOf" srcId="{EF3B8513-B606-4A7D-9F58-1B6EB5BC2F29}" destId="{B7ED1CB0-3A52-4461-92C6-B2BD960E00E5}" srcOrd="3" destOrd="0" presId="urn:microsoft.com/office/officeart/2008/layout/VerticalAccentList"/>
    <dgm:cxn modelId="{ACB278D7-A024-42F5-95B6-05B92538B38E}" type="presParOf" srcId="{EF3B8513-B606-4A7D-9F58-1B6EB5BC2F29}" destId="{A4EC1BB7-0AC2-44E4-B977-F43F7483516F}" srcOrd="4" destOrd="0" presId="urn:microsoft.com/office/officeart/2008/layout/VerticalAccentList"/>
    <dgm:cxn modelId="{5E897677-3251-4CF3-B37B-C05CF0C25FE1}" type="presParOf" srcId="{EF3B8513-B606-4A7D-9F58-1B6EB5BC2F29}" destId="{2AAC0D68-26CE-4D3A-B877-F10FF5EC9FDC}" srcOrd="5" destOrd="0" presId="urn:microsoft.com/office/officeart/2008/layout/VerticalAccentList"/>
    <dgm:cxn modelId="{DC6116D0-9D7A-4175-A43B-BC0EFCE2432C}" type="presParOf" srcId="{EF3B8513-B606-4A7D-9F58-1B6EB5BC2F29}" destId="{0B393AC6-4028-4660-8E43-DD7AFBEA56B2}" srcOrd="6" destOrd="0" presId="urn:microsoft.com/office/officeart/2008/layout/Vertical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EEEF94-EFB0-441E-8E9C-FE627586352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D14C78FA-42FA-4169-8FF9-8231B15F83A1}">
      <dgm:prSet phldrT="[Text]"/>
      <dgm:spPr/>
      <dgm:t>
        <a:bodyPr/>
        <a:lstStyle/>
        <a:p>
          <a:r>
            <a:rPr lang="en-IN" b="0" i="0" dirty="0" smtClean="0"/>
            <a:t>Container orchestration is the automation of all aspects of coordinating and managing containers.</a:t>
          </a:r>
          <a:endParaRPr lang="en-US" dirty="0"/>
        </a:p>
      </dgm:t>
    </dgm:pt>
    <dgm:pt modelId="{BBBDEE15-43D6-47A7-9E54-B26D5DC026E3}" type="parTrans" cxnId="{A688889A-80BC-4083-91EA-CF4C7C6E07D7}">
      <dgm:prSet/>
      <dgm:spPr/>
      <dgm:t>
        <a:bodyPr/>
        <a:lstStyle/>
        <a:p>
          <a:endParaRPr lang="en-US"/>
        </a:p>
      </dgm:t>
    </dgm:pt>
    <dgm:pt modelId="{4D33F100-A256-4758-A817-06E168575753}" type="sibTrans" cxnId="{A688889A-80BC-4083-91EA-CF4C7C6E07D7}">
      <dgm:prSet/>
      <dgm:spPr/>
      <dgm:t>
        <a:bodyPr/>
        <a:lstStyle/>
        <a:p>
          <a:endParaRPr lang="en-US"/>
        </a:p>
      </dgm:t>
    </dgm:pt>
    <dgm:pt modelId="{544C7ACB-99A2-4590-A1AF-E3C5D25E90A8}">
      <dgm:prSet phldrT="[Text]"/>
      <dgm:spPr/>
      <dgm:t>
        <a:bodyPr/>
        <a:lstStyle/>
        <a:p>
          <a:r>
            <a:rPr lang="en-IN" b="0" i="0" dirty="0" smtClean="0"/>
            <a:t>Container orchestration is focused on managing the life cycle of container.</a:t>
          </a:r>
          <a:endParaRPr lang="en-US" dirty="0"/>
        </a:p>
      </dgm:t>
    </dgm:pt>
    <dgm:pt modelId="{BB9C7490-7D2E-4319-B822-5D3F7B231B5F}" type="parTrans" cxnId="{E31EA1AB-8D3E-4CDC-ADBA-89FEF6E8BAA8}">
      <dgm:prSet/>
      <dgm:spPr/>
      <dgm:t>
        <a:bodyPr/>
        <a:lstStyle/>
        <a:p>
          <a:endParaRPr lang="en-US"/>
        </a:p>
      </dgm:t>
    </dgm:pt>
    <dgm:pt modelId="{F413AD84-994D-4E30-BD7A-D0A470025C93}" type="sibTrans" cxnId="{E31EA1AB-8D3E-4CDC-ADBA-89FEF6E8BAA8}">
      <dgm:prSet/>
      <dgm:spPr/>
      <dgm:t>
        <a:bodyPr/>
        <a:lstStyle/>
        <a:p>
          <a:endParaRPr lang="en-US"/>
        </a:p>
      </dgm:t>
    </dgm:pt>
    <dgm:pt modelId="{8D88DAC0-F98B-4A34-B53C-91C0F841CC21}">
      <dgm:prSet phldrT="[Text]"/>
      <dgm:spPr/>
      <dgm:t>
        <a:bodyPr/>
        <a:lstStyle/>
        <a:p>
          <a:r>
            <a:rPr lang="en-IN" b="0" i="0" dirty="0" smtClean="0"/>
            <a:t>Container orchestration manage  the dynamic environments.</a:t>
          </a:r>
          <a:endParaRPr lang="en-US" dirty="0"/>
        </a:p>
      </dgm:t>
    </dgm:pt>
    <dgm:pt modelId="{59E8F639-A6B7-4A85-8852-3A2A0DB38D29}" type="parTrans" cxnId="{91E44889-EEFE-4F1D-8255-4EDECFCBCD9D}">
      <dgm:prSet/>
      <dgm:spPr/>
      <dgm:t>
        <a:bodyPr/>
        <a:lstStyle/>
        <a:p>
          <a:endParaRPr lang="en-US"/>
        </a:p>
      </dgm:t>
    </dgm:pt>
    <dgm:pt modelId="{6F870041-A153-425C-84C0-3059389BE227}" type="sibTrans" cxnId="{91E44889-EEFE-4F1D-8255-4EDECFCBCD9D}">
      <dgm:prSet/>
      <dgm:spPr/>
      <dgm:t>
        <a:bodyPr/>
        <a:lstStyle/>
        <a:p>
          <a:endParaRPr lang="en-US"/>
        </a:p>
      </dgm:t>
    </dgm:pt>
    <dgm:pt modelId="{B86D61B1-1365-4334-A7E8-9C383F26EA1F}" type="pres">
      <dgm:prSet presAssocID="{D3EEEF94-EFB0-441E-8E9C-FE6275863529}" presName="Name0" presStyleCnt="0">
        <dgm:presLayoutVars>
          <dgm:chMax val="7"/>
          <dgm:chPref val="7"/>
          <dgm:dir/>
        </dgm:presLayoutVars>
      </dgm:prSet>
      <dgm:spPr/>
      <dgm:t>
        <a:bodyPr/>
        <a:lstStyle/>
        <a:p>
          <a:endParaRPr lang="en-US"/>
        </a:p>
      </dgm:t>
    </dgm:pt>
    <dgm:pt modelId="{557BD456-3DBF-4A19-ABF0-2CC4A10764CB}" type="pres">
      <dgm:prSet presAssocID="{D3EEEF94-EFB0-441E-8E9C-FE6275863529}" presName="Name1" presStyleCnt="0"/>
      <dgm:spPr/>
    </dgm:pt>
    <dgm:pt modelId="{94320374-BC76-4DA4-83AC-BC4BDD5F657F}" type="pres">
      <dgm:prSet presAssocID="{D3EEEF94-EFB0-441E-8E9C-FE6275863529}" presName="cycle" presStyleCnt="0"/>
      <dgm:spPr/>
    </dgm:pt>
    <dgm:pt modelId="{052ADE40-3CA1-4A83-8CF7-F32BB4E876BF}" type="pres">
      <dgm:prSet presAssocID="{D3EEEF94-EFB0-441E-8E9C-FE6275863529}" presName="srcNode" presStyleLbl="node1" presStyleIdx="0" presStyleCnt="3"/>
      <dgm:spPr/>
    </dgm:pt>
    <dgm:pt modelId="{B2A4B46D-BF0A-4D8A-9503-0B9051A9AC6D}" type="pres">
      <dgm:prSet presAssocID="{D3EEEF94-EFB0-441E-8E9C-FE6275863529}" presName="conn" presStyleLbl="parChTrans1D2" presStyleIdx="0" presStyleCnt="1"/>
      <dgm:spPr/>
      <dgm:t>
        <a:bodyPr/>
        <a:lstStyle/>
        <a:p>
          <a:endParaRPr lang="en-US"/>
        </a:p>
      </dgm:t>
    </dgm:pt>
    <dgm:pt modelId="{66293D92-0274-4DD4-8594-784866D53E85}" type="pres">
      <dgm:prSet presAssocID="{D3EEEF94-EFB0-441E-8E9C-FE6275863529}" presName="extraNode" presStyleLbl="node1" presStyleIdx="0" presStyleCnt="3"/>
      <dgm:spPr/>
    </dgm:pt>
    <dgm:pt modelId="{8289DE84-7699-4E24-9D3C-38A9CB904A4C}" type="pres">
      <dgm:prSet presAssocID="{D3EEEF94-EFB0-441E-8E9C-FE6275863529}" presName="dstNode" presStyleLbl="node1" presStyleIdx="0" presStyleCnt="3"/>
      <dgm:spPr/>
    </dgm:pt>
    <dgm:pt modelId="{90D08872-4A6B-4762-ACD5-F81E5ECDD97C}" type="pres">
      <dgm:prSet presAssocID="{D14C78FA-42FA-4169-8FF9-8231B15F83A1}" presName="text_1" presStyleLbl="node1" presStyleIdx="0" presStyleCnt="3">
        <dgm:presLayoutVars>
          <dgm:bulletEnabled val="1"/>
        </dgm:presLayoutVars>
      </dgm:prSet>
      <dgm:spPr/>
      <dgm:t>
        <a:bodyPr/>
        <a:lstStyle/>
        <a:p>
          <a:endParaRPr lang="en-US"/>
        </a:p>
      </dgm:t>
    </dgm:pt>
    <dgm:pt modelId="{085ED6D7-B621-4D64-B04F-F8F92291BB08}" type="pres">
      <dgm:prSet presAssocID="{D14C78FA-42FA-4169-8FF9-8231B15F83A1}" presName="accent_1" presStyleCnt="0"/>
      <dgm:spPr/>
    </dgm:pt>
    <dgm:pt modelId="{89B6AD4E-9439-4CEF-AA58-9BC1DA0F687F}" type="pres">
      <dgm:prSet presAssocID="{D14C78FA-42FA-4169-8FF9-8231B15F83A1}" presName="accentRepeatNode" presStyleLbl="solidFgAcc1" presStyleIdx="0" presStyleCnt="3"/>
      <dgm:spPr/>
    </dgm:pt>
    <dgm:pt modelId="{D3ED289C-0921-4F7E-9E41-1BF110A7D048}" type="pres">
      <dgm:prSet presAssocID="{544C7ACB-99A2-4590-A1AF-E3C5D25E90A8}" presName="text_2" presStyleLbl="node1" presStyleIdx="1" presStyleCnt="3">
        <dgm:presLayoutVars>
          <dgm:bulletEnabled val="1"/>
        </dgm:presLayoutVars>
      </dgm:prSet>
      <dgm:spPr/>
      <dgm:t>
        <a:bodyPr/>
        <a:lstStyle/>
        <a:p>
          <a:endParaRPr lang="en-US"/>
        </a:p>
      </dgm:t>
    </dgm:pt>
    <dgm:pt modelId="{55AD1E40-AC18-4EB1-8662-28C5B8EDCD99}" type="pres">
      <dgm:prSet presAssocID="{544C7ACB-99A2-4590-A1AF-E3C5D25E90A8}" presName="accent_2" presStyleCnt="0"/>
      <dgm:spPr/>
    </dgm:pt>
    <dgm:pt modelId="{07178575-16D6-4248-8CFF-81A2457275D8}" type="pres">
      <dgm:prSet presAssocID="{544C7ACB-99A2-4590-A1AF-E3C5D25E90A8}" presName="accentRepeatNode" presStyleLbl="solidFgAcc1" presStyleIdx="1" presStyleCnt="3"/>
      <dgm:spPr/>
    </dgm:pt>
    <dgm:pt modelId="{97E222AC-5696-49E6-AF12-E75ADD027BFC}" type="pres">
      <dgm:prSet presAssocID="{8D88DAC0-F98B-4A34-B53C-91C0F841CC21}" presName="text_3" presStyleLbl="node1" presStyleIdx="2" presStyleCnt="3">
        <dgm:presLayoutVars>
          <dgm:bulletEnabled val="1"/>
        </dgm:presLayoutVars>
      </dgm:prSet>
      <dgm:spPr/>
      <dgm:t>
        <a:bodyPr/>
        <a:lstStyle/>
        <a:p>
          <a:endParaRPr lang="en-US"/>
        </a:p>
      </dgm:t>
    </dgm:pt>
    <dgm:pt modelId="{4FF6E874-0C6D-4FAA-9746-9085A193B286}" type="pres">
      <dgm:prSet presAssocID="{8D88DAC0-F98B-4A34-B53C-91C0F841CC21}" presName="accent_3" presStyleCnt="0"/>
      <dgm:spPr/>
    </dgm:pt>
    <dgm:pt modelId="{0045DB2A-1667-4847-B832-09E3BCA62654}" type="pres">
      <dgm:prSet presAssocID="{8D88DAC0-F98B-4A34-B53C-91C0F841CC21}" presName="accentRepeatNode" presStyleLbl="solidFgAcc1" presStyleIdx="2" presStyleCnt="3"/>
      <dgm:spPr/>
    </dgm:pt>
  </dgm:ptLst>
  <dgm:cxnLst>
    <dgm:cxn modelId="{34905662-0A49-498F-B607-E0BEEB81E6D7}" type="presOf" srcId="{8D88DAC0-F98B-4A34-B53C-91C0F841CC21}" destId="{97E222AC-5696-49E6-AF12-E75ADD027BFC}" srcOrd="0" destOrd="0" presId="urn:microsoft.com/office/officeart/2008/layout/VerticalCurvedList"/>
    <dgm:cxn modelId="{A688889A-80BC-4083-91EA-CF4C7C6E07D7}" srcId="{D3EEEF94-EFB0-441E-8E9C-FE6275863529}" destId="{D14C78FA-42FA-4169-8FF9-8231B15F83A1}" srcOrd="0" destOrd="0" parTransId="{BBBDEE15-43D6-47A7-9E54-B26D5DC026E3}" sibTransId="{4D33F100-A256-4758-A817-06E168575753}"/>
    <dgm:cxn modelId="{E31EA1AB-8D3E-4CDC-ADBA-89FEF6E8BAA8}" srcId="{D3EEEF94-EFB0-441E-8E9C-FE6275863529}" destId="{544C7ACB-99A2-4590-A1AF-E3C5D25E90A8}" srcOrd="1" destOrd="0" parTransId="{BB9C7490-7D2E-4319-B822-5D3F7B231B5F}" sibTransId="{F413AD84-994D-4E30-BD7A-D0A470025C93}"/>
    <dgm:cxn modelId="{91E44889-EEFE-4F1D-8255-4EDECFCBCD9D}" srcId="{D3EEEF94-EFB0-441E-8E9C-FE6275863529}" destId="{8D88DAC0-F98B-4A34-B53C-91C0F841CC21}" srcOrd="2" destOrd="0" parTransId="{59E8F639-A6B7-4A85-8852-3A2A0DB38D29}" sibTransId="{6F870041-A153-425C-84C0-3059389BE227}"/>
    <dgm:cxn modelId="{4275704D-AA55-49AE-8A66-27680320D97B}" type="presOf" srcId="{544C7ACB-99A2-4590-A1AF-E3C5D25E90A8}" destId="{D3ED289C-0921-4F7E-9E41-1BF110A7D048}" srcOrd="0" destOrd="0" presId="urn:microsoft.com/office/officeart/2008/layout/VerticalCurvedList"/>
    <dgm:cxn modelId="{945ED27B-D5BE-4DE4-A6A8-F4DFA8B618C5}" type="presOf" srcId="{D3EEEF94-EFB0-441E-8E9C-FE6275863529}" destId="{B86D61B1-1365-4334-A7E8-9C383F26EA1F}" srcOrd="0" destOrd="0" presId="urn:microsoft.com/office/officeart/2008/layout/VerticalCurvedList"/>
    <dgm:cxn modelId="{350CDC0F-5FD2-470B-BD98-622C013AE986}" type="presOf" srcId="{4D33F100-A256-4758-A817-06E168575753}" destId="{B2A4B46D-BF0A-4D8A-9503-0B9051A9AC6D}" srcOrd="0" destOrd="0" presId="urn:microsoft.com/office/officeart/2008/layout/VerticalCurvedList"/>
    <dgm:cxn modelId="{4E5707F2-74A6-49D9-8FC7-81E92DEB0118}" type="presOf" srcId="{D14C78FA-42FA-4169-8FF9-8231B15F83A1}" destId="{90D08872-4A6B-4762-ACD5-F81E5ECDD97C}" srcOrd="0" destOrd="0" presId="urn:microsoft.com/office/officeart/2008/layout/VerticalCurvedList"/>
    <dgm:cxn modelId="{B2792C56-AA1E-4EC4-8D6A-DAAD0D36179B}" type="presParOf" srcId="{B86D61B1-1365-4334-A7E8-9C383F26EA1F}" destId="{557BD456-3DBF-4A19-ABF0-2CC4A10764CB}" srcOrd="0" destOrd="0" presId="urn:microsoft.com/office/officeart/2008/layout/VerticalCurvedList"/>
    <dgm:cxn modelId="{F8041C9D-F10D-4CDA-9C12-438E6CF900F4}" type="presParOf" srcId="{557BD456-3DBF-4A19-ABF0-2CC4A10764CB}" destId="{94320374-BC76-4DA4-83AC-BC4BDD5F657F}" srcOrd="0" destOrd="0" presId="urn:microsoft.com/office/officeart/2008/layout/VerticalCurvedList"/>
    <dgm:cxn modelId="{59422FF9-16E8-4742-9A07-4A7A2610EF58}" type="presParOf" srcId="{94320374-BC76-4DA4-83AC-BC4BDD5F657F}" destId="{052ADE40-3CA1-4A83-8CF7-F32BB4E876BF}" srcOrd="0" destOrd="0" presId="urn:microsoft.com/office/officeart/2008/layout/VerticalCurvedList"/>
    <dgm:cxn modelId="{58E32567-A523-4FF5-B866-EB007C58A00E}" type="presParOf" srcId="{94320374-BC76-4DA4-83AC-BC4BDD5F657F}" destId="{B2A4B46D-BF0A-4D8A-9503-0B9051A9AC6D}" srcOrd="1" destOrd="0" presId="urn:microsoft.com/office/officeart/2008/layout/VerticalCurvedList"/>
    <dgm:cxn modelId="{BF3B5B80-E18B-4070-993E-308F10433076}" type="presParOf" srcId="{94320374-BC76-4DA4-83AC-BC4BDD5F657F}" destId="{66293D92-0274-4DD4-8594-784866D53E85}" srcOrd="2" destOrd="0" presId="urn:microsoft.com/office/officeart/2008/layout/VerticalCurvedList"/>
    <dgm:cxn modelId="{E2937B35-38D5-4E06-A151-053C24964FBB}" type="presParOf" srcId="{94320374-BC76-4DA4-83AC-BC4BDD5F657F}" destId="{8289DE84-7699-4E24-9D3C-38A9CB904A4C}" srcOrd="3" destOrd="0" presId="urn:microsoft.com/office/officeart/2008/layout/VerticalCurvedList"/>
    <dgm:cxn modelId="{DD18CDAF-2D7E-4E47-ADB2-F9C99484001D}" type="presParOf" srcId="{557BD456-3DBF-4A19-ABF0-2CC4A10764CB}" destId="{90D08872-4A6B-4762-ACD5-F81E5ECDD97C}" srcOrd="1" destOrd="0" presId="urn:microsoft.com/office/officeart/2008/layout/VerticalCurvedList"/>
    <dgm:cxn modelId="{374C19AD-D8E2-4F36-8639-24BB15860568}" type="presParOf" srcId="{557BD456-3DBF-4A19-ABF0-2CC4A10764CB}" destId="{085ED6D7-B621-4D64-B04F-F8F92291BB08}" srcOrd="2" destOrd="0" presId="urn:microsoft.com/office/officeart/2008/layout/VerticalCurvedList"/>
    <dgm:cxn modelId="{473FA18E-2476-4165-9813-23F5F92CBD86}" type="presParOf" srcId="{085ED6D7-B621-4D64-B04F-F8F92291BB08}" destId="{89B6AD4E-9439-4CEF-AA58-9BC1DA0F687F}" srcOrd="0" destOrd="0" presId="urn:microsoft.com/office/officeart/2008/layout/VerticalCurvedList"/>
    <dgm:cxn modelId="{977CCEB2-371A-4682-8F33-22E980880310}" type="presParOf" srcId="{557BD456-3DBF-4A19-ABF0-2CC4A10764CB}" destId="{D3ED289C-0921-4F7E-9E41-1BF110A7D048}" srcOrd="3" destOrd="0" presId="urn:microsoft.com/office/officeart/2008/layout/VerticalCurvedList"/>
    <dgm:cxn modelId="{25F81E08-AE72-4E4B-9F0A-B9056ABC6EC4}" type="presParOf" srcId="{557BD456-3DBF-4A19-ABF0-2CC4A10764CB}" destId="{55AD1E40-AC18-4EB1-8662-28C5B8EDCD99}" srcOrd="4" destOrd="0" presId="urn:microsoft.com/office/officeart/2008/layout/VerticalCurvedList"/>
    <dgm:cxn modelId="{1537299E-087D-4509-A7AF-6B520B3088EE}" type="presParOf" srcId="{55AD1E40-AC18-4EB1-8662-28C5B8EDCD99}" destId="{07178575-16D6-4248-8CFF-81A2457275D8}" srcOrd="0" destOrd="0" presId="urn:microsoft.com/office/officeart/2008/layout/VerticalCurvedList"/>
    <dgm:cxn modelId="{8FCD911A-139F-464D-A068-E1101A063792}" type="presParOf" srcId="{557BD456-3DBF-4A19-ABF0-2CC4A10764CB}" destId="{97E222AC-5696-49E6-AF12-E75ADD027BFC}" srcOrd="5" destOrd="0" presId="urn:microsoft.com/office/officeart/2008/layout/VerticalCurvedList"/>
    <dgm:cxn modelId="{8D7993E2-37AC-4C6E-B021-DC22E8DA2D86}" type="presParOf" srcId="{557BD456-3DBF-4A19-ABF0-2CC4A10764CB}" destId="{4FF6E874-0C6D-4FAA-9746-9085A193B286}" srcOrd="6" destOrd="0" presId="urn:microsoft.com/office/officeart/2008/layout/VerticalCurvedList"/>
    <dgm:cxn modelId="{EC684C38-8515-4F1E-8F47-39EEAAE9E7D5}" type="presParOf" srcId="{4FF6E874-0C6D-4FAA-9746-9085A193B286}" destId="{0045DB2A-1667-4847-B832-09E3BCA6265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E1F6DE-481A-4D4B-A970-02951E1ADFFE}"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FFF23D93-A722-4AF4-951D-C7C45A4E4178}">
      <dgm:prSet phldrT="[Text]"/>
      <dgm:spPr/>
      <dgm:t>
        <a:bodyPr/>
        <a:lstStyle/>
        <a:p>
          <a:r>
            <a:rPr lang="en-US" dirty="0" smtClean="0"/>
            <a:t>Kubernetes is Open source container management tool.</a:t>
          </a:r>
          <a:endParaRPr lang="en-US" dirty="0"/>
        </a:p>
      </dgm:t>
    </dgm:pt>
    <dgm:pt modelId="{206A80DF-2441-4110-B120-368DC67482F0}" type="parTrans" cxnId="{B2784241-D44B-4035-8CE4-6DB16973B8D4}">
      <dgm:prSet/>
      <dgm:spPr/>
      <dgm:t>
        <a:bodyPr/>
        <a:lstStyle/>
        <a:p>
          <a:endParaRPr lang="en-US"/>
        </a:p>
      </dgm:t>
    </dgm:pt>
    <dgm:pt modelId="{1F78F029-8E1E-453F-8B99-42D072456E0E}" type="sibTrans" cxnId="{B2784241-D44B-4035-8CE4-6DB16973B8D4}">
      <dgm:prSet/>
      <dgm:spPr/>
      <dgm:t>
        <a:bodyPr/>
        <a:lstStyle/>
        <a:p>
          <a:endParaRPr lang="en-US"/>
        </a:p>
      </dgm:t>
    </dgm:pt>
    <dgm:pt modelId="{59F0B155-C22F-4D2F-95CF-E90698FFC3A1}">
      <dgm:prSet phldrT="[Text]"/>
      <dgm:spPr/>
      <dgm:t>
        <a:bodyPr/>
        <a:lstStyle/>
        <a:p>
          <a:r>
            <a:rPr lang="en-US" dirty="0" smtClean="0"/>
            <a:t>It automates container deployment.</a:t>
          </a:r>
          <a:endParaRPr lang="en-US" dirty="0"/>
        </a:p>
      </dgm:t>
    </dgm:pt>
    <dgm:pt modelId="{C6495FB5-E92B-41AA-9699-A1D08511CD44}" type="parTrans" cxnId="{37E6AD10-81A6-4BBE-A9E5-AF9BE1A3302F}">
      <dgm:prSet/>
      <dgm:spPr/>
      <dgm:t>
        <a:bodyPr/>
        <a:lstStyle/>
        <a:p>
          <a:endParaRPr lang="en-US"/>
        </a:p>
      </dgm:t>
    </dgm:pt>
    <dgm:pt modelId="{C2DF3DDD-5BC1-4CA7-B078-D88A79BB2EDA}" type="sibTrans" cxnId="{37E6AD10-81A6-4BBE-A9E5-AF9BE1A3302F}">
      <dgm:prSet/>
      <dgm:spPr/>
      <dgm:t>
        <a:bodyPr/>
        <a:lstStyle/>
        <a:p>
          <a:endParaRPr lang="en-US"/>
        </a:p>
      </dgm:t>
    </dgm:pt>
    <dgm:pt modelId="{5C539128-1D2F-45F2-A6BC-BC075A57EF3C}">
      <dgm:prSet phldrT="[Text]"/>
      <dgm:spPr/>
      <dgm:t>
        <a:bodyPr/>
        <a:lstStyle/>
        <a:p>
          <a:r>
            <a:rPr lang="en-US" dirty="0" smtClean="0"/>
            <a:t>It automates container scaling and descaling.</a:t>
          </a:r>
          <a:endParaRPr lang="en-US" dirty="0"/>
        </a:p>
      </dgm:t>
    </dgm:pt>
    <dgm:pt modelId="{23F52976-041F-4569-8617-82B79A309CB1}" type="parTrans" cxnId="{41D1E49A-C0C0-46C2-96E8-3B1B71558648}">
      <dgm:prSet/>
      <dgm:spPr/>
      <dgm:t>
        <a:bodyPr/>
        <a:lstStyle/>
        <a:p>
          <a:endParaRPr lang="en-US"/>
        </a:p>
      </dgm:t>
    </dgm:pt>
    <dgm:pt modelId="{1934B08F-E619-4C38-A493-16C5EA61BAD4}" type="sibTrans" cxnId="{41D1E49A-C0C0-46C2-96E8-3B1B71558648}">
      <dgm:prSet/>
      <dgm:spPr/>
      <dgm:t>
        <a:bodyPr/>
        <a:lstStyle/>
        <a:p>
          <a:endParaRPr lang="en-US"/>
        </a:p>
      </dgm:t>
    </dgm:pt>
    <dgm:pt modelId="{C23EE308-E566-4F2F-BD64-90018D344A76}">
      <dgm:prSet phldrT="[Text]"/>
      <dgm:spPr/>
      <dgm:t>
        <a:bodyPr/>
        <a:lstStyle/>
        <a:p>
          <a:r>
            <a:rPr lang="en-US" dirty="0" smtClean="0"/>
            <a:t>It automates container load balancing.</a:t>
          </a:r>
          <a:endParaRPr lang="en-US" dirty="0"/>
        </a:p>
      </dgm:t>
    </dgm:pt>
    <dgm:pt modelId="{4BC172F7-2BDB-46FC-9801-0D411487D268}" type="parTrans" cxnId="{540BE5FF-F2F0-4A6A-823C-9A2D2FD08810}">
      <dgm:prSet/>
      <dgm:spPr/>
      <dgm:t>
        <a:bodyPr/>
        <a:lstStyle/>
        <a:p>
          <a:endParaRPr lang="en-US"/>
        </a:p>
      </dgm:t>
    </dgm:pt>
    <dgm:pt modelId="{DE9D9EF6-DB69-42D7-B002-E4E229F44D45}" type="sibTrans" cxnId="{540BE5FF-F2F0-4A6A-823C-9A2D2FD08810}">
      <dgm:prSet/>
      <dgm:spPr/>
      <dgm:t>
        <a:bodyPr/>
        <a:lstStyle/>
        <a:p>
          <a:endParaRPr lang="en-US"/>
        </a:p>
      </dgm:t>
    </dgm:pt>
    <dgm:pt modelId="{49049813-C70D-4151-8B78-AF6711DD1467}">
      <dgm:prSet phldrT="[Text]"/>
      <dgm:spPr/>
      <dgm:t>
        <a:bodyPr/>
        <a:lstStyle/>
        <a:p>
          <a:r>
            <a:rPr lang="en-US" dirty="0" smtClean="0"/>
            <a:t>It work with all public, private and hybrid cloud vendor.</a:t>
          </a:r>
          <a:endParaRPr lang="en-US" dirty="0"/>
        </a:p>
      </dgm:t>
    </dgm:pt>
    <dgm:pt modelId="{8FAD62BD-D5EC-459E-BCE7-A8E15E2AEEBD}" type="parTrans" cxnId="{A03E28E2-0A2A-4D1F-9D9E-1B74B3188A52}">
      <dgm:prSet/>
      <dgm:spPr/>
      <dgm:t>
        <a:bodyPr/>
        <a:lstStyle/>
        <a:p>
          <a:endParaRPr lang="en-US"/>
        </a:p>
      </dgm:t>
    </dgm:pt>
    <dgm:pt modelId="{7DE14F9D-1AC2-4A1F-9884-7F174325461A}" type="sibTrans" cxnId="{A03E28E2-0A2A-4D1F-9D9E-1B74B3188A52}">
      <dgm:prSet/>
      <dgm:spPr/>
      <dgm:t>
        <a:bodyPr/>
        <a:lstStyle/>
        <a:p>
          <a:endParaRPr lang="en-US"/>
        </a:p>
      </dgm:t>
    </dgm:pt>
    <dgm:pt modelId="{C2E77CF0-AA04-4931-BEA2-9F365539BD60}">
      <dgm:prSet phldrT="[Text]"/>
      <dgm:spPr/>
      <dgm:t>
        <a:bodyPr/>
        <a:lstStyle/>
        <a:p>
          <a:r>
            <a:rPr lang="en-US" dirty="0" smtClean="0"/>
            <a:t>Kubernetes can group no of containers into  one logical unit  for  managing and deploying them easily in one server node.</a:t>
          </a:r>
          <a:endParaRPr lang="en-US" dirty="0"/>
        </a:p>
      </dgm:t>
    </dgm:pt>
    <dgm:pt modelId="{6E83E1DB-8E7A-4FED-8401-23DF0B6A3E74}" type="parTrans" cxnId="{E57B1DC2-ED0A-4F8B-B744-803A803E1793}">
      <dgm:prSet/>
      <dgm:spPr/>
      <dgm:t>
        <a:bodyPr/>
        <a:lstStyle/>
        <a:p>
          <a:endParaRPr lang="en-US"/>
        </a:p>
      </dgm:t>
    </dgm:pt>
    <dgm:pt modelId="{B5B882A5-9318-4DBC-9332-BE390D88975B}" type="sibTrans" cxnId="{E57B1DC2-ED0A-4F8B-B744-803A803E1793}">
      <dgm:prSet/>
      <dgm:spPr/>
      <dgm:t>
        <a:bodyPr/>
        <a:lstStyle/>
        <a:p>
          <a:endParaRPr lang="en-US"/>
        </a:p>
      </dgm:t>
    </dgm:pt>
    <dgm:pt modelId="{F4B78BAF-FFFD-4471-9159-3C914DC1A317}" type="pres">
      <dgm:prSet presAssocID="{9EE1F6DE-481A-4D4B-A970-02951E1ADFFE}" presName="Name0" presStyleCnt="0">
        <dgm:presLayoutVars>
          <dgm:chMax val="7"/>
          <dgm:chPref val="7"/>
          <dgm:dir/>
        </dgm:presLayoutVars>
      </dgm:prSet>
      <dgm:spPr/>
      <dgm:t>
        <a:bodyPr/>
        <a:lstStyle/>
        <a:p>
          <a:endParaRPr lang="en-US"/>
        </a:p>
      </dgm:t>
    </dgm:pt>
    <dgm:pt modelId="{A4DA8CF0-8CA1-47C8-9792-ABA9EBD3D220}" type="pres">
      <dgm:prSet presAssocID="{9EE1F6DE-481A-4D4B-A970-02951E1ADFFE}" presName="Name1" presStyleCnt="0"/>
      <dgm:spPr/>
    </dgm:pt>
    <dgm:pt modelId="{A30BEEFA-E852-4F96-9792-CED680DDB9FC}" type="pres">
      <dgm:prSet presAssocID="{9EE1F6DE-481A-4D4B-A970-02951E1ADFFE}" presName="cycle" presStyleCnt="0"/>
      <dgm:spPr/>
    </dgm:pt>
    <dgm:pt modelId="{C27EFECB-5E2D-46D5-B9ED-580E1F9BC736}" type="pres">
      <dgm:prSet presAssocID="{9EE1F6DE-481A-4D4B-A970-02951E1ADFFE}" presName="srcNode" presStyleLbl="node1" presStyleIdx="0" presStyleCnt="6"/>
      <dgm:spPr/>
    </dgm:pt>
    <dgm:pt modelId="{DF774D73-5A3E-40FD-8E5E-E8468907EA07}" type="pres">
      <dgm:prSet presAssocID="{9EE1F6DE-481A-4D4B-A970-02951E1ADFFE}" presName="conn" presStyleLbl="parChTrans1D2" presStyleIdx="0" presStyleCnt="1"/>
      <dgm:spPr/>
      <dgm:t>
        <a:bodyPr/>
        <a:lstStyle/>
        <a:p>
          <a:endParaRPr lang="en-US"/>
        </a:p>
      </dgm:t>
    </dgm:pt>
    <dgm:pt modelId="{4BC2AB5A-8340-47A2-84CD-B6801865651A}" type="pres">
      <dgm:prSet presAssocID="{9EE1F6DE-481A-4D4B-A970-02951E1ADFFE}" presName="extraNode" presStyleLbl="node1" presStyleIdx="0" presStyleCnt="6"/>
      <dgm:spPr/>
    </dgm:pt>
    <dgm:pt modelId="{39BAA157-CCD5-454F-A087-D0E5EAAEC9D0}" type="pres">
      <dgm:prSet presAssocID="{9EE1F6DE-481A-4D4B-A970-02951E1ADFFE}" presName="dstNode" presStyleLbl="node1" presStyleIdx="0" presStyleCnt="6"/>
      <dgm:spPr/>
    </dgm:pt>
    <dgm:pt modelId="{5CD957F7-D15B-4114-9D55-B987FB3DEE24}" type="pres">
      <dgm:prSet presAssocID="{FFF23D93-A722-4AF4-951D-C7C45A4E4178}" presName="text_1" presStyleLbl="node1" presStyleIdx="0" presStyleCnt="6">
        <dgm:presLayoutVars>
          <dgm:bulletEnabled val="1"/>
        </dgm:presLayoutVars>
      </dgm:prSet>
      <dgm:spPr/>
      <dgm:t>
        <a:bodyPr/>
        <a:lstStyle/>
        <a:p>
          <a:endParaRPr lang="en-US"/>
        </a:p>
      </dgm:t>
    </dgm:pt>
    <dgm:pt modelId="{549316C6-A536-43C9-8C3F-C3921A9D004F}" type="pres">
      <dgm:prSet presAssocID="{FFF23D93-A722-4AF4-951D-C7C45A4E4178}" presName="accent_1" presStyleCnt="0"/>
      <dgm:spPr/>
    </dgm:pt>
    <dgm:pt modelId="{FFF99060-8602-4D41-8030-578309EF1D83}" type="pres">
      <dgm:prSet presAssocID="{FFF23D93-A722-4AF4-951D-C7C45A4E4178}" presName="accentRepeatNode" presStyleLbl="solidFgAcc1" presStyleIdx="0" presStyleCnt="6"/>
      <dgm:spPr/>
    </dgm:pt>
    <dgm:pt modelId="{D0A96D30-9E21-4BF7-AC39-36652F32B2B3}" type="pres">
      <dgm:prSet presAssocID="{59F0B155-C22F-4D2F-95CF-E90698FFC3A1}" presName="text_2" presStyleLbl="node1" presStyleIdx="1" presStyleCnt="6">
        <dgm:presLayoutVars>
          <dgm:bulletEnabled val="1"/>
        </dgm:presLayoutVars>
      </dgm:prSet>
      <dgm:spPr/>
      <dgm:t>
        <a:bodyPr/>
        <a:lstStyle/>
        <a:p>
          <a:endParaRPr lang="en-US"/>
        </a:p>
      </dgm:t>
    </dgm:pt>
    <dgm:pt modelId="{834D52F9-7942-41D2-9420-01A9777F8A31}" type="pres">
      <dgm:prSet presAssocID="{59F0B155-C22F-4D2F-95CF-E90698FFC3A1}" presName="accent_2" presStyleCnt="0"/>
      <dgm:spPr/>
    </dgm:pt>
    <dgm:pt modelId="{C58D4175-C788-47A4-B105-C121729FDC9F}" type="pres">
      <dgm:prSet presAssocID="{59F0B155-C22F-4D2F-95CF-E90698FFC3A1}" presName="accentRepeatNode" presStyleLbl="solidFgAcc1" presStyleIdx="1" presStyleCnt="6"/>
      <dgm:spPr/>
    </dgm:pt>
    <dgm:pt modelId="{5A7EEFA0-400B-43C1-8063-BB383751183C}" type="pres">
      <dgm:prSet presAssocID="{5C539128-1D2F-45F2-A6BC-BC075A57EF3C}" presName="text_3" presStyleLbl="node1" presStyleIdx="2" presStyleCnt="6">
        <dgm:presLayoutVars>
          <dgm:bulletEnabled val="1"/>
        </dgm:presLayoutVars>
      </dgm:prSet>
      <dgm:spPr/>
      <dgm:t>
        <a:bodyPr/>
        <a:lstStyle/>
        <a:p>
          <a:endParaRPr lang="en-US"/>
        </a:p>
      </dgm:t>
    </dgm:pt>
    <dgm:pt modelId="{DBB3195C-A4C7-47D9-AF4F-34B42EB6E1A5}" type="pres">
      <dgm:prSet presAssocID="{5C539128-1D2F-45F2-A6BC-BC075A57EF3C}" presName="accent_3" presStyleCnt="0"/>
      <dgm:spPr/>
    </dgm:pt>
    <dgm:pt modelId="{2E3F003E-C35E-43E0-A440-9D71113D222C}" type="pres">
      <dgm:prSet presAssocID="{5C539128-1D2F-45F2-A6BC-BC075A57EF3C}" presName="accentRepeatNode" presStyleLbl="solidFgAcc1" presStyleIdx="2" presStyleCnt="6"/>
      <dgm:spPr/>
    </dgm:pt>
    <dgm:pt modelId="{E688ACBD-036D-4813-8E4E-FA18CC791E9C}" type="pres">
      <dgm:prSet presAssocID="{C23EE308-E566-4F2F-BD64-90018D344A76}" presName="text_4" presStyleLbl="node1" presStyleIdx="3" presStyleCnt="6">
        <dgm:presLayoutVars>
          <dgm:bulletEnabled val="1"/>
        </dgm:presLayoutVars>
      </dgm:prSet>
      <dgm:spPr/>
      <dgm:t>
        <a:bodyPr/>
        <a:lstStyle/>
        <a:p>
          <a:endParaRPr lang="en-US"/>
        </a:p>
      </dgm:t>
    </dgm:pt>
    <dgm:pt modelId="{7AD88BC6-1C2B-4762-9CA7-A52A88124A60}" type="pres">
      <dgm:prSet presAssocID="{C23EE308-E566-4F2F-BD64-90018D344A76}" presName="accent_4" presStyleCnt="0"/>
      <dgm:spPr/>
    </dgm:pt>
    <dgm:pt modelId="{C2F0E1E8-8ED1-4A6F-9AD8-94933C78EA95}" type="pres">
      <dgm:prSet presAssocID="{C23EE308-E566-4F2F-BD64-90018D344A76}" presName="accentRepeatNode" presStyleLbl="solidFgAcc1" presStyleIdx="3" presStyleCnt="6"/>
      <dgm:spPr/>
    </dgm:pt>
    <dgm:pt modelId="{962D122A-607D-41E1-9189-F12984404813}" type="pres">
      <dgm:prSet presAssocID="{49049813-C70D-4151-8B78-AF6711DD1467}" presName="text_5" presStyleLbl="node1" presStyleIdx="4" presStyleCnt="6">
        <dgm:presLayoutVars>
          <dgm:bulletEnabled val="1"/>
        </dgm:presLayoutVars>
      </dgm:prSet>
      <dgm:spPr/>
      <dgm:t>
        <a:bodyPr/>
        <a:lstStyle/>
        <a:p>
          <a:endParaRPr lang="en-US"/>
        </a:p>
      </dgm:t>
    </dgm:pt>
    <dgm:pt modelId="{79202D3A-8AC2-49E3-A728-E7B4F3866867}" type="pres">
      <dgm:prSet presAssocID="{49049813-C70D-4151-8B78-AF6711DD1467}" presName="accent_5" presStyleCnt="0"/>
      <dgm:spPr/>
    </dgm:pt>
    <dgm:pt modelId="{1B934768-AF19-4569-8FBA-ABD9BAA9BB9B}" type="pres">
      <dgm:prSet presAssocID="{49049813-C70D-4151-8B78-AF6711DD1467}" presName="accentRepeatNode" presStyleLbl="solidFgAcc1" presStyleIdx="4" presStyleCnt="6"/>
      <dgm:spPr/>
    </dgm:pt>
    <dgm:pt modelId="{76DD004A-CD8C-45AD-85F3-58A5F9A6AFBD}" type="pres">
      <dgm:prSet presAssocID="{C2E77CF0-AA04-4931-BEA2-9F365539BD60}" presName="text_6" presStyleLbl="node1" presStyleIdx="5" presStyleCnt="6">
        <dgm:presLayoutVars>
          <dgm:bulletEnabled val="1"/>
        </dgm:presLayoutVars>
      </dgm:prSet>
      <dgm:spPr/>
      <dgm:t>
        <a:bodyPr/>
        <a:lstStyle/>
        <a:p>
          <a:endParaRPr lang="en-US"/>
        </a:p>
      </dgm:t>
    </dgm:pt>
    <dgm:pt modelId="{0649FEDD-8C9A-4C9C-9AF4-4BE74BADC725}" type="pres">
      <dgm:prSet presAssocID="{C2E77CF0-AA04-4931-BEA2-9F365539BD60}" presName="accent_6" presStyleCnt="0"/>
      <dgm:spPr/>
    </dgm:pt>
    <dgm:pt modelId="{CAA8CBB2-3405-4003-B192-CCC5E2F0FC10}" type="pres">
      <dgm:prSet presAssocID="{C2E77CF0-AA04-4931-BEA2-9F365539BD60}" presName="accentRepeatNode" presStyleLbl="solidFgAcc1" presStyleIdx="5" presStyleCnt="6"/>
      <dgm:spPr/>
    </dgm:pt>
  </dgm:ptLst>
  <dgm:cxnLst>
    <dgm:cxn modelId="{E57B1DC2-ED0A-4F8B-B744-803A803E1793}" srcId="{9EE1F6DE-481A-4D4B-A970-02951E1ADFFE}" destId="{C2E77CF0-AA04-4931-BEA2-9F365539BD60}" srcOrd="5" destOrd="0" parTransId="{6E83E1DB-8E7A-4FED-8401-23DF0B6A3E74}" sibTransId="{B5B882A5-9318-4DBC-9332-BE390D88975B}"/>
    <dgm:cxn modelId="{58EDDB42-6712-4472-A2CC-427552B2C014}" type="presOf" srcId="{C23EE308-E566-4F2F-BD64-90018D344A76}" destId="{E688ACBD-036D-4813-8E4E-FA18CC791E9C}" srcOrd="0" destOrd="0" presId="urn:microsoft.com/office/officeart/2008/layout/VerticalCurvedList"/>
    <dgm:cxn modelId="{13032557-7F40-48B2-9358-2677E2B78F09}" type="presOf" srcId="{9EE1F6DE-481A-4D4B-A970-02951E1ADFFE}" destId="{F4B78BAF-FFFD-4471-9159-3C914DC1A317}" srcOrd="0" destOrd="0" presId="urn:microsoft.com/office/officeart/2008/layout/VerticalCurvedList"/>
    <dgm:cxn modelId="{F18B60EC-A5BA-4321-B0AA-E28DDDDD154D}" type="presOf" srcId="{5C539128-1D2F-45F2-A6BC-BC075A57EF3C}" destId="{5A7EEFA0-400B-43C1-8063-BB383751183C}" srcOrd="0" destOrd="0" presId="urn:microsoft.com/office/officeart/2008/layout/VerticalCurvedList"/>
    <dgm:cxn modelId="{7AA5108D-6AF3-4965-AEAD-E46172E2BCFB}" type="presOf" srcId="{C2E77CF0-AA04-4931-BEA2-9F365539BD60}" destId="{76DD004A-CD8C-45AD-85F3-58A5F9A6AFBD}" srcOrd="0" destOrd="0" presId="urn:microsoft.com/office/officeart/2008/layout/VerticalCurvedList"/>
    <dgm:cxn modelId="{426F1DC2-4993-4E8D-B760-28DCFFA08E58}" type="presOf" srcId="{1F78F029-8E1E-453F-8B99-42D072456E0E}" destId="{DF774D73-5A3E-40FD-8E5E-E8468907EA07}" srcOrd="0" destOrd="0" presId="urn:microsoft.com/office/officeart/2008/layout/VerticalCurvedList"/>
    <dgm:cxn modelId="{27B8DD1D-AE49-416E-8642-0A93E727B5D4}" type="presOf" srcId="{59F0B155-C22F-4D2F-95CF-E90698FFC3A1}" destId="{D0A96D30-9E21-4BF7-AC39-36652F32B2B3}" srcOrd="0" destOrd="0" presId="urn:microsoft.com/office/officeart/2008/layout/VerticalCurvedList"/>
    <dgm:cxn modelId="{18BEDE68-3593-424E-8C4B-ADDE27CA39DC}" type="presOf" srcId="{FFF23D93-A722-4AF4-951D-C7C45A4E4178}" destId="{5CD957F7-D15B-4114-9D55-B987FB3DEE24}" srcOrd="0" destOrd="0" presId="urn:microsoft.com/office/officeart/2008/layout/VerticalCurvedList"/>
    <dgm:cxn modelId="{41D1E49A-C0C0-46C2-96E8-3B1B71558648}" srcId="{9EE1F6DE-481A-4D4B-A970-02951E1ADFFE}" destId="{5C539128-1D2F-45F2-A6BC-BC075A57EF3C}" srcOrd="2" destOrd="0" parTransId="{23F52976-041F-4569-8617-82B79A309CB1}" sibTransId="{1934B08F-E619-4C38-A493-16C5EA61BAD4}"/>
    <dgm:cxn modelId="{A03E28E2-0A2A-4D1F-9D9E-1B74B3188A52}" srcId="{9EE1F6DE-481A-4D4B-A970-02951E1ADFFE}" destId="{49049813-C70D-4151-8B78-AF6711DD1467}" srcOrd="4" destOrd="0" parTransId="{8FAD62BD-D5EC-459E-BCE7-A8E15E2AEEBD}" sibTransId="{7DE14F9D-1AC2-4A1F-9884-7F174325461A}"/>
    <dgm:cxn modelId="{B2784241-D44B-4035-8CE4-6DB16973B8D4}" srcId="{9EE1F6DE-481A-4D4B-A970-02951E1ADFFE}" destId="{FFF23D93-A722-4AF4-951D-C7C45A4E4178}" srcOrd="0" destOrd="0" parTransId="{206A80DF-2441-4110-B120-368DC67482F0}" sibTransId="{1F78F029-8E1E-453F-8B99-42D072456E0E}"/>
    <dgm:cxn modelId="{37E6AD10-81A6-4BBE-A9E5-AF9BE1A3302F}" srcId="{9EE1F6DE-481A-4D4B-A970-02951E1ADFFE}" destId="{59F0B155-C22F-4D2F-95CF-E90698FFC3A1}" srcOrd="1" destOrd="0" parTransId="{C6495FB5-E92B-41AA-9699-A1D08511CD44}" sibTransId="{C2DF3DDD-5BC1-4CA7-B078-D88A79BB2EDA}"/>
    <dgm:cxn modelId="{540BE5FF-F2F0-4A6A-823C-9A2D2FD08810}" srcId="{9EE1F6DE-481A-4D4B-A970-02951E1ADFFE}" destId="{C23EE308-E566-4F2F-BD64-90018D344A76}" srcOrd="3" destOrd="0" parTransId="{4BC172F7-2BDB-46FC-9801-0D411487D268}" sibTransId="{DE9D9EF6-DB69-42D7-B002-E4E229F44D45}"/>
    <dgm:cxn modelId="{96367125-7F1F-4E7F-87A5-118068D46FC5}" type="presOf" srcId="{49049813-C70D-4151-8B78-AF6711DD1467}" destId="{962D122A-607D-41E1-9189-F12984404813}" srcOrd="0" destOrd="0" presId="urn:microsoft.com/office/officeart/2008/layout/VerticalCurvedList"/>
    <dgm:cxn modelId="{2C602919-F486-4F05-95D8-D3C26BF0F970}" type="presParOf" srcId="{F4B78BAF-FFFD-4471-9159-3C914DC1A317}" destId="{A4DA8CF0-8CA1-47C8-9792-ABA9EBD3D220}" srcOrd="0" destOrd="0" presId="urn:microsoft.com/office/officeart/2008/layout/VerticalCurvedList"/>
    <dgm:cxn modelId="{5D8A1B8B-BDAD-400F-A4E7-42F020B87261}" type="presParOf" srcId="{A4DA8CF0-8CA1-47C8-9792-ABA9EBD3D220}" destId="{A30BEEFA-E852-4F96-9792-CED680DDB9FC}" srcOrd="0" destOrd="0" presId="urn:microsoft.com/office/officeart/2008/layout/VerticalCurvedList"/>
    <dgm:cxn modelId="{68463CF3-9783-47A3-A3B2-0D913FD4B01B}" type="presParOf" srcId="{A30BEEFA-E852-4F96-9792-CED680DDB9FC}" destId="{C27EFECB-5E2D-46D5-B9ED-580E1F9BC736}" srcOrd="0" destOrd="0" presId="urn:microsoft.com/office/officeart/2008/layout/VerticalCurvedList"/>
    <dgm:cxn modelId="{86CF5843-D69B-44BB-AD6D-C7CED897A0DB}" type="presParOf" srcId="{A30BEEFA-E852-4F96-9792-CED680DDB9FC}" destId="{DF774D73-5A3E-40FD-8E5E-E8468907EA07}" srcOrd="1" destOrd="0" presId="urn:microsoft.com/office/officeart/2008/layout/VerticalCurvedList"/>
    <dgm:cxn modelId="{345182BC-16B5-4A7D-A0A4-366CC4911E13}" type="presParOf" srcId="{A30BEEFA-E852-4F96-9792-CED680DDB9FC}" destId="{4BC2AB5A-8340-47A2-84CD-B6801865651A}" srcOrd="2" destOrd="0" presId="urn:microsoft.com/office/officeart/2008/layout/VerticalCurvedList"/>
    <dgm:cxn modelId="{4ACC5DFF-1D1F-4CDF-BA8E-C6F2A850AF54}" type="presParOf" srcId="{A30BEEFA-E852-4F96-9792-CED680DDB9FC}" destId="{39BAA157-CCD5-454F-A087-D0E5EAAEC9D0}" srcOrd="3" destOrd="0" presId="urn:microsoft.com/office/officeart/2008/layout/VerticalCurvedList"/>
    <dgm:cxn modelId="{D206A4F8-6D0E-4ECF-99CC-EDBC80CFB257}" type="presParOf" srcId="{A4DA8CF0-8CA1-47C8-9792-ABA9EBD3D220}" destId="{5CD957F7-D15B-4114-9D55-B987FB3DEE24}" srcOrd="1" destOrd="0" presId="urn:microsoft.com/office/officeart/2008/layout/VerticalCurvedList"/>
    <dgm:cxn modelId="{74682778-950F-4D01-AB32-22EEB781427D}" type="presParOf" srcId="{A4DA8CF0-8CA1-47C8-9792-ABA9EBD3D220}" destId="{549316C6-A536-43C9-8C3F-C3921A9D004F}" srcOrd="2" destOrd="0" presId="urn:microsoft.com/office/officeart/2008/layout/VerticalCurvedList"/>
    <dgm:cxn modelId="{3B69D9B8-E06C-452D-8698-D728B7492498}" type="presParOf" srcId="{549316C6-A536-43C9-8C3F-C3921A9D004F}" destId="{FFF99060-8602-4D41-8030-578309EF1D83}" srcOrd="0" destOrd="0" presId="urn:microsoft.com/office/officeart/2008/layout/VerticalCurvedList"/>
    <dgm:cxn modelId="{C80F8A88-6DEB-44A8-A5E0-B234C187F214}" type="presParOf" srcId="{A4DA8CF0-8CA1-47C8-9792-ABA9EBD3D220}" destId="{D0A96D30-9E21-4BF7-AC39-36652F32B2B3}" srcOrd="3" destOrd="0" presId="urn:microsoft.com/office/officeart/2008/layout/VerticalCurvedList"/>
    <dgm:cxn modelId="{6BF9DEDB-7AC2-4102-B36D-15D91DBE8C58}" type="presParOf" srcId="{A4DA8CF0-8CA1-47C8-9792-ABA9EBD3D220}" destId="{834D52F9-7942-41D2-9420-01A9777F8A31}" srcOrd="4" destOrd="0" presId="urn:microsoft.com/office/officeart/2008/layout/VerticalCurvedList"/>
    <dgm:cxn modelId="{CC8B5AF9-D264-4F31-9A1C-1505B2953646}" type="presParOf" srcId="{834D52F9-7942-41D2-9420-01A9777F8A31}" destId="{C58D4175-C788-47A4-B105-C121729FDC9F}" srcOrd="0" destOrd="0" presId="urn:microsoft.com/office/officeart/2008/layout/VerticalCurvedList"/>
    <dgm:cxn modelId="{B45CE999-856A-4D2F-BA56-A5012DED1526}" type="presParOf" srcId="{A4DA8CF0-8CA1-47C8-9792-ABA9EBD3D220}" destId="{5A7EEFA0-400B-43C1-8063-BB383751183C}" srcOrd="5" destOrd="0" presId="urn:microsoft.com/office/officeart/2008/layout/VerticalCurvedList"/>
    <dgm:cxn modelId="{155DEB13-A83E-458B-9B31-5DACBF309CB4}" type="presParOf" srcId="{A4DA8CF0-8CA1-47C8-9792-ABA9EBD3D220}" destId="{DBB3195C-A4C7-47D9-AF4F-34B42EB6E1A5}" srcOrd="6" destOrd="0" presId="urn:microsoft.com/office/officeart/2008/layout/VerticalCurvedList"/>
    <dgm:cxn modelId="{0F2B2B82-7806-4BC1-8172-5F81710E8EC7}" type="presParOf" srcId="{DBB3195C-A4C7-47D9-AF4F-34B42EB6E1A5}" destId="{2E3F003E-C35E-43E0-A440-9D71113D222C}" srcOrd="0" destOrd="0" presId="urn:microsoft.com/office/officeart/2008/layout/VerticalCurvedList"/>
    <dgm:cxn modelId="{C7255D8E-A303-4576-A60C-9981EC6708E1}" type="presParOf" srcId="{A4DA8CF0-8CA1-47C8-9792-ABA9EBD3D220}" destId="{E688ACBD-036D-4813-8E4E-FA18CC791E9C}" srcOrd="7" destOrd="0" presId="urn:microsoft.com/office/officeart/2008/layout/VerticalCurvedList"/>
    <dgm:cxn modelId="{8110A306-A9E3-486D-AEFD-9A3B4131FC40}" type="presParOf" srcId="{A4DA8CF0-8CA1-47C8-9792-ABA9EBD3D220}" destId="{7AD88BC6-1C2B-4762-9CA7-A52A88124A60}" srcOrd="8" destOrd="0" presId="urn:microsoft.com/office/officeart/2008/layout/VerticalCurvedList"/>
    <dgm:cxn modelId="{DB5E82AA-1129-4E38-BF3C-F0D20C96AD0D}" type="presParOf" srcId="{7AD88BC6-1C2B-4762-9CA7-A52A88124A60}" destId="{C2F0E1E8-8ED1-4A6F-9AD8-94933C78EA95}" srcOrd="0" destOrd="0" presId="urn:microsoft.com/office/officeart/2008/layout/VerticalCurvedList"/>
    <dgm:cxn modelId="{0EA92869-1E49-4386-9881-46E5D81FCB13}" type="presParOf" srcId="{A4DA8CF0-8CA1-47C8-9792-ABA9EBD3D220}" destId="{962D122A-607D-41E1-9189-F12984404813}" srcOrd="9" destOrd="0" presId="urn:microsoft.com/office/officeart/2008/layout/VerticalCurvedList"/>
    <dgm:cxn modelId="{CD22715E-7398-4AC5-9980-49CFF6B9C247}" type="presParOf" srcId="{A4DA8CF0-8CA1-47C8-9792-ABA9EBD3D220}" destId="{79202D3A-8AC2-49E3-A728-E7B4F3866867}" srcOrd="10" destOrd="0" presId="urn:microsoft.com/office/officeart/2008/layout/VerticalCurvedList"/>
    <dgm:cxn modelId="{FF94D759-E21F-4CDA-BD80-B1E0119D6012}" type="presParOf" srcId="{79202D3A-8AC2-49E3-A728-E7B4F3866867}" destId="{1B934768-AF19-4569-8FBA-ABD9BAA9BB9B}" srcOrd="0" destOrd="0" presId="urn:microsoft.com/office/officeart/2008/layout/VerticalCurvedList"/>
    <dgm:cxn modelId="{196BCE6F-B1F2-4C1A-B5C1-D20A0A5D5E42}" type="presParOf" srcId="{A4DA8CF0-8CA1-47C8-9792-ABA9EBD3D220}" destId="{76DD004A-CD8C-45AD-85F3-58A5F9A6AFBD}" srcOrd="11" destOrd="0" presId="urn:microsoft.com/office/officeart/2008/layout/VerticalCurvedList"/>
    <dgm:cxn modelId="{8094CF3B-008E-41F2-88F4-AD00699934FD}" type="presParOf" srcId="{A4DA8CF0-8CA1-47C8-9792-ABA9EBD3D220}" destId="{0649FEDD-8C9A-4C9C-9AF4-4BE74BADC725}" srcOrd="12" destOrd="0" presId="urn:microsoft.com/office/officeart/2008/layout/VerticalCurvedList"/>
    <dgm:cxn modelId="{81360EDC-2141-4F39-B746-DD65F4C14498}" type="presParOf" srcId="{0649FEDD-8C9A-4C9C-9AF4-4BE74BADC725}" destId="{CAA8CBB2-3405-4003-B192-CCC5E2F0FC1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EF2D9FD-98F2-4D29-8991-DEE459CC90F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F00D9A7D-6B9B-4928-8677-0F3F1C3E25CD}">
      <dgm:prSet phldrT="[Text]"/>
      <dgm:spPr/>
      <dgm:t>
        <a:bodyPr/>
        <a:lstStyle/>
        <a:p>
          <a:r>
            <a:rPr lang="en-US" dirty="0" smtClean="0"/>
            <a:t>Automatic Binpacking</a:t>
          </a:r>
          <a:endParaRPr lang="en-US" dirty="0"/>
        </a:p>
      </dgm:t>
    </dgm:pt>
    <dgm:pt modelId="{3887A614-0F6C-4AEF-861F-22675BCA1B16}" type="parTrans" cxnId="{3E3E83B8-A07A-48C9-9B95-CEB5BC39359F}">
      <dgm:prSet/>
      <dgm:spPr/>
      <dgm:t>
        <a:bodyPr/>
        <a:lstStyle/>
        <a:p>
          <a:endParaRPr lang="en-US"/>
        </a:p>
      </dgm:t>
    </dgm:pt>
    <dgm:pt modelId="{B99431D1-525E-4355-AEFD-6A99D2293994}" type="sibTrans" cxnId="{3E3E83B8-A07A-48C9-9B95-CEB5BC39359F}">
      <dgm:prSet/>
      <dgm:spPr/>
      <dgm:t>
        <a:bodyPr/>
        <a:lstStyle/>
        <a:p>
          <a:endParaRPr lang="en-US"/>
        </a:p>
      </dgm:t>
    </dgm:pt>
    <dgm:pt modelId="{44C8A59E-D208-4867-9F84-1BFC43B7B30D}">
      <dgm:prSet phldrT="[Text]"/>
      <dgm:spPr/>
      <dgm:t>
        <a:bodyPr/>
        <a:lstStyle/>
        <a:p>
          <a:r>
            <a:rPr lang="en-US" dirty="0" smtClean="0"/>
            <a:t>Service Discovery &amp; Load Balancing</a:t>
          </a:r>
          <a:endParaRPr lang="en-US" dirty="0"/>
        </a:p>
      </dgm:t>
    </dgm:pt>
    <dgm:pt modelId="{D00314AF-F154-4F46-9279-9A02C07C0133}" type="parTrans" cxnId="{7EBEC8B2-8F9C-4564-B7FE-09BF01A71C18}">
      <dgm:prSet/>
      <dgm:spPr/>
      <dgm:t>
        <a:bodyPr/>
        <a:lstStyle/>
        <a:p>
          <a:endParaRPr lang="en-US"/>
        </a:p>
      </dgm:t>
    </dgm:pt>
    <dgm:pt modelId="{FB09DF72-361C-41C1-8C0E-BFD866549B3E}" type="sibTrans" cxnId="{7EBEC8B2-8F9C-4564-B7FE-09BF01A71C18}">
      <dgm:prSet/>
      <dgm:spPr/>
      <dgm:t>
        <a:bodyPr/>
        <a:lstStyle/>
        <a:p>
          <a:endParaRPr lang="en-US"/>
        </a:p>
      </dgm:t>
    </dgm:pt>
    <dgm:pt modelId="{06397CB8-35B0-4C45-8FCC-5BFABF1CB8F7}">
      <dgm:prSet phldrT="[Text]"/>
      <dgm:spPr/>
      <dgm:t>
        <a:bodyPr/>
        <a:lstStyle/>
        <a:p>
          <a:r>
            <a:rPr lang="en-US" dirty="0" smtClean="0"/>
            <a:t>Self Healing</a:t>
          </a:r>
          <a:endParaRPr lang="en-US" dirty="0"/>
        </a:p>
      </dgm:t>
    </dgm:pt>
    <dgm:pt modelId="{FABBD712-8D10-48DA-875E-981AB4181766}" type="parTrans" cxnId="{487477E8-2DFF-4FE3-B4DB-A52D21E61B5B}">
      <dgm:prSet/>
      <dgm:spPr/>
      <dgm:t>
        <a:bodyPr/>
        <a:lstStyle/>
        <a:p>
          <a:endParaRPr lang="en-US"/>
        </a:p>
      </dgm:t>
    </dgm:pt>
    <dgm:pt modelId="{A848A9E9-BBDF-46EB-ADBC-68B0EDE12E8A}" type="sibTrans" cxnId="{487477E8-2DFF-4FE3-B4DB-A52D21E61B5B}">
      <dgm:prSet/>
      <dgm:spPr/>
      <dgm:t>
        <a:bodyPr/>
        <a:lstStyle/>
        <a:p>
          <a:endParaRPr lang="en-US"/>
        </a:p>
      </dgm:t>
    </dgm:pt>
    <dgm:pt modelId="{EEBF7581-F46F-48EA-B118-42FBD33FD7CC}">
      <dgm:prSet phldrT="[Text]"/>
      <dgm:spPr/>
      <dgm:t>
        <a:bodyPr/>
        <a:lstStyle/>
        <a:p>
          <a:r>
            <a:rPr lang="en-US" dirty="0" smtClean="0"/>
            <a:t>Secrete and Configuration</a:t>
          </a:r>
          <a:endParaRPr lang="en-US" dirty="0"/>
        </a:p>
      </dgm:t>
    </dgm:pt>
    <dgm:pt modelId="{C9DEA417-2284-461B-ACBE-380AD457AD1F}" type="parTrans" cxnId="{ABDAD11B-FA53-4DE8-80A9-8A2CC2BDA888}">
      <dgm:prSet/>
      <dgm:spPr/>
      <dgm:t>
        <a:bodyPr/>
        <a:lstStyle/>
        <a:p>
          <a:endParaRPr lang="en-US"/>
        </a:p>
      </dgm:t>
    </dgm:pt>
    <dgm:pt modelId="{3D728BD2-61F6-430B-ABA2-BC0560848A99}" type="sibTrans" cxnId="{ABDAD11B-FA53-4DE8-80A9-8A2CC2BDA888}">
      <dgm:prSet/>
      <dgm:spPr/>
      <dgm:t>
        <a:bodyPr/>
        <a:lstStyle/>
        <a:p>
          <a:endParaRPr lang="en-US"/>
        </a:p>
      </dgm:t>
    </dgm:pt>
    <dgm:pt modelId="{C0BF76D1-91BF-4335-91DE-561238F4B9C1}" type="pres">
      <dgm:prSet presAssocID="{9EF2D9FD-98F2-4D29-8991-DEE459CC90F3}" presName="linear" presStyleCnt="0">
        <dgm:presLayoutVars>
          <dgm:dir/>
          <dgm:animLvl val="lvl"/>
          <dgm:resizeHandles val="exact"/>
        </dgm:presLayoutVars>
      </dgm:prSet>
      <dgm:spPr/>
      <dgm:t>
        <a:bodyPr/>
        <a:lstStyle/>
        <a:p>
          <a:endParaRPr lang="en-US"/>
        </a:p>
      </dgm:t>
    </dgm:pt>
    <dgm:pt modelId="{C151E56A-5A5D-421C-91AD-C7D3E49F0656}" type="pres">
      <dgm:prSet presAssocID="{F00D9A7D-6B9B-4928-8677-0F3F1C3E25CD}" presName="parentLin" presStyleCnt="0"/>
      <dgm:spPr/>
    </dgm:pt>
    <dgm:pt modelId="{C20AF664-E806-43F9-9477-D394EF67AA5C}" type="pres">
      <dgm:prSet presAssocID="{F00D9A7D-6B9B-4928-8677-0F3F1C3E25CD}" presName="parentLeftMargin" presStyleLbl="node1" presStyleIdx="0" presStyleCnt="4"/>
      <dgm:spPr/>
      <dgm:t>
        <a:bodyPr/>
        <a:lstStyle/>
        <a:p>
          <a:endParaRPr lang="en-US"/>
        </a:p>
      </dgm:t>
    </dgm:pt>
    <dgm:pt modelId="{BDD60971-4566-47E3-875A-1BAE24F634DC}" type="pres">
      <dgm:prSet presAssocID="{F00D9A7D-6B9B-4928-8677-0F3F1C3E25CD}" presName="parentText" presStyleLbl="node1" presStyleIdx="0" presStyleCnt="4">
        <dgm:presLayoutVars>
          <dgm:chMax val="0"/>
          <dgm:bulletEnabled val="1"/>
        </dgm:presLayoutVars>
      </dgm:prSet>
      <dgm:spPr/>
      <dgm:t>
        <a:bodyPr/>
        <a:lstStyle/>
        <a:p>
          <a:endParaRPr lang="en-US"/>
        </a:p>
      </dgm:t>
    </dgm:pt>
    <dgm:pt modelId="{F38299F1-B36F-453D-ADDD-4C5EA60441AA}" type="pres">
      <dgm:prSet presAssocID="{F00D9A7D-6B9B-4928-8677-0F3F1C3E25CD}" presName="negativeSpace" presStyleCnt="0"/>
      <dgm:spPr/>
    </dgm:pt>
    <dgm:pt modelId="{9192898B-B926-45BB-A821-59AC3C1C8417}" type="pres">
      <dgm:prSet presAssocID="{F00D9A7D-6B9B-4928-8677-0F3F1C3E25CD}" presName="childText" presStyleLbl="conFgAcc1" presStyleIdx="0" presStyleCnt="4">
        <dgm:presLayoutVars>
          <dgm:bulletEnabled val="1"/>
        </dgm:presLayoutVars>
      </dgm:prSet>
      <dgm:spPr/>
    </dgm:pt>
    <dgm:pt modelId="{136A55FB-DB0F-4E8C-9006-CB9B6AD69C90}" type="pres">
      <dgm:prSet presAssocID="{B99431D1-525E-4355-AEFD-6A99D2293994}" presName="spaceBetweenRectangles" presStyleCnt="0"/>
      <dgm:spPr/>
    </dgm:pt>
    <dgm:pt modelId="{12EF30FF-06B8-46E7-B117-3A6A103C2244}" type="pres">
      <dgm:prSet presAssocID="{44C8A59E-D208-4867-9F84-1BFC43B7B30D}" presName="parentLin" presStyleCnt="0"/>
      <dgm:spPr/>
    </dgm:pt>
    <dgm:pt modelId="{28E759F2-BFC8-4339-9EBA-F719E0C2B643}" type="pres">
      <dgm:prSet presAssocID="{44C8A59E-D208-4867-9F84-1BFC43B7B30D}" presName="parentLeftMargin" presStyleLbl="node1" presStyleIdx="0" presStyleCnt="4"/>
      <dgm:spPr/>
      <dgm:t>
        <a:bodyPr/>
        <a:lstStyle/>
        <a:p>
          <a:endParaRPr lang="en-US"/>
        </a:p>
      </dgm:t>
    </dgm:pt>
    <dgm:pt modelId="{1AD415EB-52ED-46FC-A3C7-3569275633ED}" type="pres">
      <dgm:prSet presAssocID="{44C8A59E-D208-4867-9F84-1BFC43B7B30D}" presName="parentText" presStyleLbl="node1" presStyleIdx="1" presStyleCnt="4">
        <dgm:presLayoutVars>
          <dgm:chMax val="0"/>
          <dgm:bulletEnabled val="1"/>
        </dgm:presLayoutVars>
      </dgm:prSet>
      <dgm:spPr/>
      <dgm:t>
        <a:bodyPr/>
        <a:lstStyle/>
        <a:p>
          <a:endParaRPr lang="en-US"/>
        </a:p>
      </dgm:t>
    </dgm:pt>
    <dgm:pt modelId="{227CF65E-44BF-4011-9F18-77F663D96969}" type="pres">
      <dgm:prSet presAssocID="{44C8A59E-D208-4867-9F84-1BFC43B7B30D}" presName="negativeSpace" presStyleCnt="0"/>
      <dgm:spPr/>
    </dgm:pt>
    <dgm:pt modelId="{E4BEB148-4EB4-49F6-9C7B-C9C2D52EF2A0}" type="pres">
      <dgm:prSet presAssocID="{44C8A59E-D208-4867-9F84-1BFC43B7B30D}" presName="childText" presStyleLbl="conFgAcc1" presStyleIdx="1" presStyleCnt="4">
        <dgm:presLayoutVars>
          <dgm:bulletEnabled val="1"/>
        </dgm:presLayoutVars>
      </dgm:prSet>
      <dgm:spPr/>
    </dgm:pt>
    <dgm:pt modelId="{71E7DFB4-3792-4640-8878-5C00B4AB508D}" type="pres">
      <dgm:prSet presAssocID="{FB09DF72-361C-41C1-8C0E-BFD866549B3E}" presName="spaceBetweenRectangles" presStyleCnt="0"/>
      <dgm:spPr/>
    </dgm:pt>
    <dgm:pt modelId="{1F4C8B89-CCC9-4D92-A1C1-3AA144BEC4BC}" type="pres">
      <dgm:prSet presAssocID="{06397CB8-35B0-4C45-8FCC-5BFABF1CB8F7}" presName="parentLin" presStyleCnt="0"/>
      <dgm:spPr/>
    </dgm:pt>
    <dgm:pt modelId="{18517A22-F935-4242-9798-0CB04BDDF0A6}" type="pres">
      <dgm:prSet presAssocID="{06397CB8-35B0-4C45-8FCC-5BFABF1CB8F7}" presName="parentLeftMargin" presStyleLbl="node1" presStyleIdx="1" presStyleCnt="4"/>
      <dgm:spPr/>
      <dgm:t>
        <a:bodyPr/>
        <a:lstStyle/>
        <a:p>
          <a:endParaRPr lang="en-US"/>
        </a:p>
      </dgm:t>
    </dgm:pt>
    <dgm:pt modelId="{D2B0E507-61A2-4215-B191-56A1076EADBB}" type="pres">
      <dgm:prSet presAssocID="{06397CB8-35B0-4C45-8FCC-5BFABF1CB8F7}" presName="parentText" presStyleLbl="node1" presStyleIdx="2" presStyleCnt="4">
        <dgm:presLayoutVars>
          <dgm:chMax val="0"/>
          <dgm:bulletEnabled val="1"/>
        </dgm:presLayoutVars>
      </dgm:prSet>
      <dgm:spPr/>
      <dgm:t>
        <a:bodyPr/>
        <a:lstStyle/>
        <a:p>
          <a:endParaRPr lang="en-US"/>
        </a:p>
      </dgm:t>
    </dgm:pt>
    <dgm:pt modelId="{1DB4EB4D-71DA-4618-A343-7BD909BA4D45}" type="pres">
      <dgm:prSet presAssocID="{06397CB8-35B0-4C45-8FCC-5BFABF1CB8F7}" presName="negativeSpace" presStyleCnt="0"/>
      <dgm:spPr/>
    </dgm:pt>
    <dgm:pt modelId="{DC960DA1-98CB-4408-AFE9-CADC838B58DE}" type="pres">
      <dgm:prSet presAssocID="{06397CB8-35B0-4C45-8FCC-5BFABF1CB8F7}" presName="childText" presStyleLbl="conFgAcc1" presStyleIdx="2" presStyleCnt="4">
        <dgm:presLayoutVars>
          <dgm:bulletEnabled val="1"/>
        </dgm:presLayoutVars>
      </dgm:prSet>
      <dgm:spPr/>
    </dgm:pt>
    <dgm:pt modelId="{0554E911-FA5C-4659-AE44-86E31BC9996B}" type="pres">
      <dgm:prSet presAssocID="{A848A9E9-BBDF-46EB-ADBC-68B0EDE12E8A}" presName="spaceBetweenRectangles" presStyleCnt="0"/>
      <dgm:spPr/>
    </dgm:pt>
    <dgm:pt modelId="{4C21592C-D177-48A4-B66E-70E39195E212}" type="pres">
      <dgm:prSet presAssocID="{EEBF7581-F46F-48EA-B118-42FBD33FD7CC}" presName="parentLin" presStyleCnt="0"/>
      <dgm:spPr/>
    </dgm:pt>
    <dgm:pt modelId="{40832F40-B392-4C9E-9435-0031AF84A5A6}" type="pres">
      <dgm:prSet presAssocID="{EEBF7581-F46F-48EA-B118-42FBD33FD7CC}" presName="parentLeftMargin" presStyleLbl="node1" presStyleIdx="2" presStyleCnt="4"/>
      <dgm:spPr/>
      <dgm:t>
        <a:bodyPr/>
        <a:lstStyle/>
        <a:p>
          <a:endParaRPr lang="en-US"/>
        </a:p>
      </dgm:t>
    </dgm:pt>
    <dgm:pt modelId="{B56ED58B-4A63-4BF8-B283-1611FEC2B10F}" type="pres">
      <dgm:prSet presAssocID="{EEBF7581-F46F-48EA-B118-42FBD33FD7CC}" presName="parentText" presStyleLbl="node1" presStyleIdx="3" presStyleCnt="4" custLinFactNeighborX="-2746">
        <dgm:presLayoutVars>
          <dgm:chMax val="0"/>
          <dgm:bulletEnabled val="1"/>
        </dgm:presLayoutVars>
      </dgm:prSet>
      <dgm:spPr/>
      <dgm:t>
        <a:bodyPr/>
        <a:lstStyle/>
        <a:p>
          <a:endParaRPr lang="en-US"/>
        </a:p>
      </dgm:t>
    </dgm:pt>
    <dgm:pt modelId="{44AAEA84-3E31-4F8B-A215-0CAC82EDC6C4}" type="pres">
      <dgm:prSet presAssocID="{EEBF7581-F46F-48EA-B118-42FBD33FD7CC}" presName="negativeSpace" presStyleCnt="0"/>
      <dgm:spPr/>
    </dgm:pt>
    <dgm:pt modelId="{D852C188-F694-46A0-8ACE-E243D636BDE6}" type="pres">
      <dgm:prSet presAssocID="{EEBF7581-F46F-48EA-B118-42FBD33FD7CC}" presName="childText" presStyleLbl="conFgAcc1" presStyleIdx="3" presStyleCnt="4">
        <dgm:presLayoutVars>
          <dgm:bulletEnabled val="1"/>
        </dgm:presLayoutVars>
      </dgm:prSet>
      <dgm:spPr/>
    </dgm:pt>
  </dgm:ptLst>
  <dgm:cxnLst>
    <dgm:cxn modelId="{52AD634D-8A63-4137-824D-EF5482D119D1}" type="presOf" srcId="{9EF2D9FD-98F2-4D29-8991-DEE459CC90F3}" destId="{C0BF76D1-91BF-4335-91DE-561238F4B9C1}" srcOrd="0" destOrd="0" presId="urn:microsoft.com/office/officeart/2005/8/layout/list1"/>
    <dgm:cxn modelId="{7EBEC8B2-8F9C-4564-B7FE-09BF01A71C18}" srcId="{9EF2D9FD-98F2-4D29-8991-DEE459CC90F3}" destId="{44C8A59E-D208-4867-9F84-1BFC43B7B30D}" srcOrd="1" destOrd="0" parTransId="{D00314AF-F154-4F46-9279-9A02C07C0133}" sibTransId="{FB09DF72-361C-41C1-8C0E-BFD866549B3E}"/>
    <dgm:cxn modelId="{487477E8-2DFF-4FE3-B4DB-A52D21E61B5B}" srcId="{9EF2D9FD-98F2-4D29-8991-DEE459CC90F3}" destId="{06397CB8-35B0-4C45-8FCC-5BFABF1CB8F7}" srcOrd="2" destOrd="0" parTransId="{FABBD712-8D10-48DA-875E-981AB4181766}" sibTransId="{A848A9E9-BBDF-46EB-ADBC-68B0EDE12E8A}"/>
    <dgm:cxn modelId="{CAEC669E-8081-4D0C-8D17-82295432E17E}" type="presOf" srcId="{06397CB8-35B0-4C45-8FCC-5BFABF1CB8F7}" destId="{18517A22-F935-4242-9798-0CB04BDDF0A6}" srcOrd="0" destOrd="0" presId="urn:microsoft.com/office/officeart/2005/8/layout/list1"/>
    <dgm:cxn modelId="{ABDAD11B-FA53-4DE8-80A9-8A2CC2BDA888}" srcId="{9EF2D9FD-98F2-4D29-8991-DEE459CC90F3}" destId="{EEBF7581-F46F-48EA-B118-42FBD33FD7CC}" srcOrd="3" destOrd="0" parTransId="{C9DEA417-2284-461B-ACBE-380AD457AD1F}" sibTransId="{3D728BD2-61F6-430B-ABA2-BC0560848A99}"/>
    <dgm:cxn modelId="{3E3E83B8-A07A-48C9-9B95-CEB5BC39359F}" srcId="{9EF2D9FD-98F2-4D29-8991-DEE459CC90F3}" destId="{F00D9A7D-6B9B-4928-8677-0F3F1C3E25CD}" srcOrd="0" destOrd="0" parTransId="{3887A614-0F6C-4AEF-861F-22675BCA1B16}" sibTransId="{B99431D1-525E-4355-AEFD-6A99D2293994}"/>
    <dgm:cxn modelId="{61B24D43-866C-4DE5-8263-191BEC17997B}" type="presOf" srcId="{EEBF7581-F46F-48EA-B118-42FBD33FD7CC}" destId="{B56ED58B-4A63-4BF8-B283-1611FEC2B10F}" srcOrd="1" destOrd="0" presId="urn:microsoft.com/office/officeart/2005/8/layout/list1"/>
    <dgm:cxn modelId="{8C400EE4-84C1-4F62-BEC7-5DBF8DAB46B1}" type="presOf" srcId="{44C8A59E-D208-4867-9F84-1BFC43B7B30D}" destId="{28E759F2-BFC8-4339-9EBA-F719E0C2B643}" srcOrd="0" destOrd="0" presId="urn:microsoft.com/office/officeart/2005/8/layout/list1"/>
    <dgm:cxn modelId="{CF72C5C8-D32F-42CE-BC75-C1B67627171B}" type="presOf" srcId="{06397CB8-35B0-4C45-8FCC-5BFABF1CB8F7}" destId="{D2B0E507-61A2-4215-B191-56A1076EADBB}" srcOrd="1" destOrd="0" presId="urn:microsoft.com/office/officeart/2005/8/layout/list1"/>
    <dgm:cxn modelId="{64485698-729E-4029-91E6-6731E94BFA77}" type="presOf" srcId="{44C8A59E-D208-4867-9F84-1BFC43B7B30D}" destId="{1AD415EB-52ED-46FC-A3C7-3569275633ED}" srcOrd="1" destOrd="0" presId="urn:microsoft.com/office/officeart/2005/8/layout/list1"/>
    <dgm:cxn modelId="{AF6B3CDE-83A4-4CE4-8C80-A0A6F1BAD6E0}" type="presOf" srcId="{EEBF7581-F46F-48EA-B118-42FBD33FD7CC}" destId="{40832F40-B392-4C9E-9435-0031AF84A5A6}" srcOrd="0" destOrd="0" presId="urn:microsoft.com/office/officeart/2005/8/layout/list1"/>
    <dgm:cxn modelId="{3AC82953-D76A-4403-81B5-E401C5114F99}" type="presOf" srcId="{F00D9A7D-6B9B-4928-8677-0F3F1C3E25CD}" destId="{BDD60971-4566-47E3-875A-1BAE24F634DC}" srcOrd="1" destOrd="0" presId="urn:microsoft.com/office/officeart/2005/8/layout/list1"/>
    <dgm:cxn modelId="{A9DD65EA-175A-4843-BCE4-A207EDDFC388}" type="presOf" srcId="{F00D9A7D-6B9B-4928-8677-0F3F1C3E25CD}" destId="{C20AF664-E806-43F9-9477-D394EF67AA5C}" srcOrd="0" destOrd="0" presId="urn:microsoft.com/office/officeart/2005/8/layout/list1"/>
    <dgm:cxn modelId="{55753E37-3737-41FC-B2DB-C892EC3DF72E}" type="presParOf" srcId="{C0BF76D1-91BF-4335-91DE-561238F4B9C1}" destId="{C151E56A-5A5D-421C-91AD-C7D3E49F0656}" srcOrd="0" destOrd="0" presId="urn:microsoft.com/office/officeart/2005/8/layout/list1"/>
    <dgm:cxn modelId="{7ED61840-B007-477E-A360-43D96D9B23D8}" type="presParOf" srcId="{C151E56A-5A5D-421C-91AD-C7D3E49F0656}" destId="{C20AF664-E806-43F9-9477-D394EF67AA5C}" srcOrd="0" destOrd="0" presId="urn:microsoft.com/office/officeart/2005/8/layout/list1"/>
    <dgm:cxn modelId="{ACC77E90-F8D3-48B3-B05F-5EC25CCC4849}" type="presParOf" srcId="{C151E56A-5A5D-421C-91AD-C7D3E49F0656}" destId="{BDD60971-4566-47E3-875A-1BAE24F634DC}" srcOrd="1" destOrd="0" presId="urn:microsoft.com/office/officeart/2005/8/layout/list1"/>
    <dgm:cxn modelId="{31BFEA55-B224-4BDF-8E98-A027BA08E5B1}" type="presParOf" srcId="{C0BF76D1-91BF-4335-91DE-561238F4B9C1}" destId="{F38299F1-B36F-453D-ADDD-4C5EA60441AA}" srcOrd="1" destOrd="0" presId="urn:microsoft.com/office/officeart/2005/8/layout/list1"/>
    <dgm:cxn modelId="{AA041D6C-DB17-4D9C-BA66-5EFF1744FA4D}" type="presParOf" srcId="{C0BF76D1-91BF-4335-91DE-561238F4B9C1}" destId="{9192898B-B926-45BB-A821-59AC3C1C8417}" srcOrd="2" destOrd="0" presId="urn:microsoft.com/office/officeart/2005/8/layout/list1"/>
    <dgm:cxn modelId="{C0020810-8870-41BD-AEE1-4FAF84D4F01F}" type="presParOf" srcId="{C0BF76D1-91BF-4335-91DE-561238F4B9C1}" destId="{136A55FB-DB0F-4E8C-9006-CB9B6AD69C90}" srcOrd="3" destOrd="0" presId="urn:microsoft.com/office/officeart/2005/8/layout/list1"/>
    <dgm:cxn modelId="{D2CE4D97-F4B0-48D2-9C19-5BE0C932C1FA}" type="presParOf" srcId="{C0BF76D1-91BF-4335-91DE-561238F4B9C1}" destId="{12EF30FF-06B8-46E7-B117-3A6A103C2244}" srcOrd="4" destOrd="0" presId="urn:microsoft.com/office/officeart/2005/8/layout/list1"/>
    <dgm:cxn modelId="{DCAE46E0-36F1-4036-8BEB-693DCC4EAF26}" type="presParOf" srcId="{12EF30FF-06B8-46E7-B117-3A6A103C2244}" destId="{28E759F2-BFC8-4339-9EBA-F719E0C2B643}" srcOrd="0" destOrd="0" presId="urn:microsoft.com/office/officeart/2005/8/layout/list1"/>
    <dgm:cxn modelId="{D6395505-76F3-4146-8878-BF19891831D6}" type="presParOf" srcId="{12EF30FF-06B8-46E7-B117-3A6A103C2244}" destId="{1AD415EB-52ED-46FC-A3C7-3569275633ED}" srcOrd="1" destOrd="0" presId="urn:microsoft.com/office/officeart/2005/8/layout/list1"/>
    <dgm:cxn modelId="{224EAED6-47BE-428C-B27D-426F79ACDC74}" type="presParOf" srcId="{C0BF76D1-91BF-4335-91DE-561238F4B9C1}" destId="{227CF65E-44BF-4011-9F18-77F663D96969}" srcOrd="5" destOrd="0" presId="urn:microsoft.com/office/officeart/2005/8/layout/list1"/>
    <dgm:cxn modelId="{8D1C4388-7128-4959-880A-FED5922B9C66}" type="presParOf" srcId="{C0BF76D1-91BF-4335-91DE-561238F4B9C1}" destId="{E4BEB148-4EB4-49F6-9C7B-C9C2D52EF2A0}" srcOrd="6" destOrd="0" presId="urn:microsoft.com/office/officeart/2005/8/layout/list1"/>
    <dgm:cxn modelId="{9BA6939D-B780-4158-BCEC-1A14864D1810}" type="presParOf" srcId="{C0BF76D1-91BF-4335-91DE-561238F4B9C1}" destId="{71E7DFB4-3792-4640-8878-5C00B4AB508D}" srcOrd="7" destOrd="0" presId="urn:microsoft.com/office/officeart/2005/8/layout/list1"/>
    <dgm:cxn modelId="{7B6DE758-99BB-4E39-AE1D-DEBFB1FC1503}" type="presParOf" srcId="{C0BF76D1-91BF-4335-91DE-561238F4B9C1}" destId="{1F4C8B89-CCC9-4D92-A1C1-3AA144BEC4BC}" srcOrd="8" destOrd="0" presId="urn:microsoft.com/office/officeart/2005/8/layout/list1"/>
    <dgm:cxn modelId="{9714FD73-B65D-447C-BF29-82680DDD6F61}" type="presParOf" srcId="{1F4C8B89-CCC9-4D92-A1C1-3AA144BEC4BC}" destId="{18517A22-F935-4242-9798-0CB04BDDF0A6}" srcOrd="0" destOrd="0" presId="urn:microsoft.com/office/officeart/2005/8/layout/list1"/>
    <dgm:cxn modelId="{CB2D4EE9-8A75-4525-B893-DB4C409795F5}" type="presParOf" srcId="{1F4C8B89-CCC9-4D92-A1C1-3AA144BEC4BC}" destId="{D2B0E507-61A2-4215-B191-56A1076EADBB}" srcOrd="1" destOrd="0" presId="urn:microsoft.com/office/officeart/2005/8/layout/list1"/>
    <dgm:cxn modelId="{B1B7E94A-C7EC-4738-A0AB-90F0824814EF}" type="presParOf" srcId="{C0BF76D1-91BF-4335-91DE-561238F4B9C1}" destId="{1DB4EB4D-71DA-4618-A343-7BD909BA4D45}" srcOrd="9" destOrd="0" presId="urn:microsoft.com/office/officeart/2005/8/layout/list1"/>
    <dgm:cxn modelId="{9278ABE4-C183-4F6B-94EA-215D7F300647}" type="presParOf" srcId="{C0BF76D1-91BF-4335-91DE-561238F4B9C1}" destId="{DC960DA1-98CB-4408-AFE9-CADC838B58DE}" srcOrd="10" destOrd="0" presId="urn:microsoft.com/office/officeart/2005/8/layout/list1"/>
    <dgm:cxn modelId="{A84A126C-5589-4164-B620-1338F6953BA3}" type="presParOf" srcId="{C0BF76D1-91BF-4335-91DE-561238F4B9C1}" destId="{0554E911-FA5C-4659-AE44-86E31BC9996B}" srcOrd="11" destOrd="0" presId="urn:microsoft.com/office/officeart/2005/8/layout/list1"/>
    <dgm:cxn modelId="{25334572-F8F2-445E-B1C8-3E3F1B0F0E9D}" type="presParOf" srcId="{C0BF76D1-91BF-4335-91DE-561238F4B9C1}" destId="{4C21592C-D177-48A4-B66E-70E39195E212}" srcOrd="12" destOrd="0" presId="urn:microsoft.com/office/officeart/2005/8/layout/list1"/>
    <dgm:cxn modelId="{5833C992-4ED1-4577-A39B-54898368BA27}" type="presParOf" srcId="{4C21592C-D177-48A4-B66E-70E39195E212}" destId="{40832F40-B392-4C9E-9435-0031AF84A5A6}" srcOrd="0" destOrd="0" presId="urn:microsoft.com/office/officeart/2005/8/layout/list1"/>
    <dgm:cxn modelId="{E91BA66B-CA86-4B08-90DF-D5FD66AE0BA6}" type="presParOf" srcId="{4C21592C-D177-48A4-B66E-70E39195E212}" destId="{B56ED58B-4A63-4BF8-B283-1611FEC2B10F}" srcOrd="1" destOrd="0" presId="urn:microsoft.com/office/officeart/2005/8/layout/list1"/>
    <dgm:cxn modelId="{93A5002B-D001-4561-92CA-FBD9D786A476}" type="presParOf" srcId="{C0BF76D1-91BF-4335-91DE-561238F4B9C1}" destId="{44AAEA84-3E31-4F8B-A215-0CAC82EDC6C4}" srcOrd="13" destOrd="0" presId="urn:microsoft.com/office/officeart/2005/8/layout/list1"/>
    <dgm:cxn modelId="{2EFB4DD0-E065-493D-AAC4-ADED91073585}" type="presParOf" srcId="{C0BF76D1-91BF-4335-91DE-561238F4B9C1}" destId="{D852C188-F694-46A0-8ACE-E243D636BDE6}"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F2D9FD-98F2-4D29-8991-DEE459CC90F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F00D9A7D-6B9B-4928-8677-0F3F1C3E25CD}">
      <dgm:prSet phldrT="[Text]"/>
      <dgm:spPr/>
      <dgm:t>
        <a:bodyPr/>
        <a:lstStyle/>
        <a:p>
          <a:r>
            <a:rPr lang="en-US" dirty="0" smtClean="0"/>
            <a:t>Storage orchestration</a:t>
          </a:r>
          <a:endParaRPr lang="en-US" dirty="0"/>
        </a:p>
      </dgm:t>
    </dgm:pt>
    <dgm:pt modelId="{3887A614-0F6C-4AEF-861F-22675BCA1B16}" type="parTrans" cxnId="{3E3E83B8-A07A-48C9-9B95-CEB5BC39359F}">
      <dgm:prSet/>
      <dgm:spPr/>
      <dgm:t>
        <a:bodyPr/>
        <a:lstStyle/>
        <a:p>
          <a:endParaRPr lang="en-US"/>
        </a:p>
      </dgm:t>
    </dgm:pt>
    <dgm:pt modelId="{B99431D1-525E-4355-AEFD-6A99D2293994}" type="sibTrans" cxnId="{3E3E83B8-A07A-48C9-9B95-CEB5BC39359F}">
      <dgm:prSet/>
      <dgm:spPr/>
      <dgm:t>
        <a:bodyPr/>
        <a:lstStyle/>
        <a:p>
          <a:endParaRPr lang="en-US"/>
        </a:p>
      </dgm:t>
    </dgm:pt>
    <dgm:pt modelId="{44C8A59E-D208-4867-9F84-1BFC43B7B30D}">
      <dgm:prSet phldrT="[Text]"/>
      <dgm:spPr/>
      <dgm:t>
        <a:bodyPr/>
        <a:lstStyle/>
        <a:p>
          <a:r>
            <a:rPr lang="en-US" dirty="0" smtClean="0"/>
            <a:t>Horizontal Scaling</a:t>
          </a:r>
          <a:endParaRPr lang="en-US" dirty="0"/>
        </a:p>
      </dgm:t>
    </dgm:pt>
    <dgm:pt modelId="{D00314AF-F154-4F46-9279-9A02C07C0133}" type="parTrans" cxnId="{7EBEC8B2-8F9C-4564-B7FE-09BF01A71C18}">
      <dgm:prSet/>
      <dgm:spPr/>
      <dgm:t>
        <a:bodyPr/>
        <a:lstStyle/>
        <a:p>
          <a:endParaRPr lang="en-US"/>
        </a:p>
      </dgm:t>
    </dgm:pt>
    <dgm:pt modelId="{FB09DF72-361C-41C1-8C0E-BFD866549B3E}" type="sibTrans" cxnId="{7EBEC8B2-8F9C-4564-B7FE-09BF01A71C18}">
      <dgm:prSet/>
      <dgm:spPr/>
      <dgm:t>
        <a:bodyPr/>
        <a:lstStyle/>
        <a:p>
          <a:endParaRPr lang="en-US"/>
        </a:p>
      </dgm:t>
    </dgm:pt>
    <dgm:pt modelId="{8947847A-0E02-46FC-B24B-8CABE6E0FE3D}">
      <dgm:prSet phldrT="[Text]"/>
      <dgm:spPr/>
      <dgm:t>
        <a:bodyPr/>
        <a:lstStyle/>
        <a:p>
          <a:r>
            <a:rPr lang="en-US" dirty="0" smtClean="0"/>
            <a:t>Batch Execution</a:t>
          </a:r>
          <a:endParaRPr lang="en-US" dirty="0"/>
        </a:p>
      </dgm:t>
    </dgm:pt>
    <dgm:pt modelId="{27C65E83-DD24-4E7B-BB41-A4444CBB8A01}" type="parTrans" cxnId="{7E3A0E11-63AB-419C-B02E-0CC471BE198F}">
      <dgm:prSet/>
      <dgm:spPr/>
      <dgm:t>
        <a:bodyPr/>
        <a:lstStyle/>
        <a:p>
          <a:endParaRPr lang="en-US"/>
        </a:p>
      </dgm:t>
    </dgm:pt>
    <dgm:pt modelId="{6EFFC4CF-F573-439D-9C9F-6E40879B71A4}" type="sibTrans" cxnId="{7E3A0E11-63AB-419C-B02E-0CC471BE198F}">
      <dgm:prSet/>
      <dgm:spPr/>
      <dgm:t>
        <a:bodyPr/>
        <a:lstStyle/>
        <a:p>
          <a:endParaRPr lang="en-US"/>
        </a:p>
      </dgm:t>
    </dgm:pt>
    <dgm:pt modelId="{06397CB8-35B0-4C45-8FCC-5BFABF1CB8F7}">
      <dgm:prSet phldrT="[Text]"/>
      <dgm:spPr/>
      <dgm:t>
        <a:bodyPr/>
        <a:lstStyle/>
        <a:p>
          <a:r>
            <a:rPr lang="en-US" dirty="0" smtClean="0"/>
            <a:t>Automatic Rollback and Rollouts</a:t>
          </a:r>
          <a:endParaRPr lang="en-US" dirty="0"/>
        </a:p>
      </dgm:t>
    </dgm:pt>
    <dgm:pt modelId="{FABBD712-8D10-48DA-875E-981AB4181766}" type="parTrans" cxnId="{487477E8-2DFF-4FE3-B4DB-A52D21E61B5B}">
      <dgm:prSet/>
      <dgm:spPr/>
      <dgm:t>
        <a:bodyPr/>
        <a:lstStyle/>
        <a:p>
          <a:endParaRPr lang="en-US"/>
        </a:p>
      </dgm:t>
    </dgm:pt>
    <dgm:pt modelId="{A848A9E9-BBDF-46EB-ADBC-68B0EDE12E8A}" type="sibTrans" cxnId="{487477E8-2DFF-4FE3-B4DB-A52D21E61B5B}">
      <dgm:prSet/>
      <dgm:spPr/>
      <dgm:t>
        <a:bodyPr/>
        <a:lstStyle/>
        <a:p>
          <a:endParaRPr lang="en-US"/>
        </a:p>
      </dgm:t>
    </dgm:pt>
    <dgm:pt modelId="{C0BF76D1-91BF-4335-91DE-561238F4B9C1}" type="pres">
      <dgm:prSet presAssocID="{9EF2D9FD-98F2-4D29-8991-DEE459CC90F3}" presName="linear" presStyleCnt="0">
        <dgm:presLayoutVars>
          <dgm:dir/>
          <dgm:animLvl val="lvl"/>
          <dgm:resizeHandles val="exact"/>
        </dgm:presLayoutVars>
      </dgm:prSet>
      <dgm:spPr/>
      <dgm:t>
        <a:bodyPr/>
        <a:lstStyle/>
        <a:p>
          <a:endParaRPr lang="en-US"/>
        </a:p>
      </dgm:t>
    </dgm:pt>
    <dgm:pt modelId="{C151E56A-5A5D-421C-91AD-C7D3E49F0656}" type="pres">
      <dgm:prSet presAssocID="{F00D9A7D-6B9B-4928-8677-0F3F1C3E25CD}" presName="parentLin" presStyleCnt="0"/>
      <dgm:spPr/>
    </dgm:pt>
    <dgm:pt modelId="{C20AF664-E806-43F9-9477-D394EF67AA5C}" type="pres">
      <dgm:prSet presAssocID="{F00D9A7D-6B9B-4928-8677-0F3F1C3E25CD}" presName="parentLeftMargin" presStyleLbl="node1" presStyleIdx="0" presStyleCnt="4"/>
      <dgm:spPr/>
      <dgm:t>
        <a:bodyPr/>
        <a:lstStyle/>
        <a:p>
          <a:endParaRPr lang="en-US"/>
        </a:p>
      </dgm:t>
    </dgm:pt>
    <dgm:pt modelId="{BDD60971-4566-47E3-875A-1BAE24F634DC}" type="pres">
      <dgm:prSet presAssocID="{F00D9A7D-6B9B-4928-8677-0F3F1C3E25CD}" presName="parentText" presStyleLbl="node1" presStyleIdx="0" presStyleCnt="4" custScaleX="86637" custLinFactNeighborX="5169" custLinFactNeighborY="2979">
        <dgm:presLayoutVars>
          <dgm:chMax val="0"/>
          <dgm:bulletEnabled val="1"/>
        </dgm:presLayoutVars>
      </dgm:prSet>
      <dgm:spPr/>
      <dgm:t>
        <a:bodyPr/>
        <a:lstStyle/>
        <a:p>
          <a:endParaRPr lang="en-US"/>
        </a:p>
      </dgm:t>
    </dgm:pt>
    <dgm:pt modelId="{F38299F1-B36F-453D-ADDD-4C5EA60441AA}" type="pres">
      <dgm:prSet presAssocID="{F00D9A7D-6B9B-4928-8677-0F3F1C3E25CD}" presName="negativeSpace" presStyleCnt="0"/>
      <dgm:spPr/>
    </dgm:pt>
    <dgm:pt modelId="{9192898B-B926-45BB-A821-59AC3C1C8417}" type="pres">
      <dgm:prSet presAssocID="{F00D9A7D-6B9B-4928-8677-0F3F1C3E25CD}" presName="childText" presStyleLbl="conFgAcc1" presStyleIdx="0" presStyleCnt="4">
        <dgm:presLayoutVars>
          <dgm:bulletEnabled val="1"/>
        </dgm:presLayoutVars>
      </dgm:prSet>
      <dgm:spPr/>
    </dgm:pt>
    <dgm:pt modelId="{136A55FB-DB0F-4E8C-9006-CB9B6AD69C90}" type="pres">
      <dgm:prSet presAssocID="{B99431D1-525E-4355-AEFD-6A99D2293994}" presName="spaceBetweenRectangles" presStyleCnt="0"/>
      <dgm:spPr/>
    </dgm:pt>
    <dgm:pt modelId="{12EF30FF-06B8-46E7-B117-3A6A103C2244}" type="pres">
      <dgm:prSet presAssocID="{44C8A59E-D208-4867-9F84-1BFC43B7B30D}" presName="parentLin" presStyleCnt="0"/>
      <dgm:spPr/>
    </dgm:pt>
    <dgm:pt modelId="{28E759F2-BFC8-4339-9EBA-F719E0C2B643}" type="pres">
      <dgm:prSet presAssocID="{44C8A59E-D208-4867-9F84-1BFC43B7B30D}" presName="parentLeftMargin" presStyleLbl="node1" presStyleIdx="0" presStyleCnt="4"/>
      <dgm:spPr/>
      <dgm:t>
        <a:bodyPr/>
        <a:lstStyle/>
        <a:p>
          <a:endParaRPr lang="en-US"/>
        </a:p>
      </dgm:t>
    </dgm:pt>
    <dgm:pt modelId="{1AD415EB-52ED-46FC-A3C7-3569275633ED}" type="pres">
      <dgm:prSet presAssocID="{44C8A59E-D208-4867-9F84-1BFC43B7B30D}" presName="parentText" presStyleLbl="node1" presStyleIdx="1" presStyleCnt="4">
        <dgm:presLayoutVars>
          <dgm:chMax val="0"/>
          <dgm:bulletEnabled val="1"/>
        </dgm:presLayoutVars>
      </dgm:prSet>
      <dgm:spPr/>
      <dgm:t>
        <a:bodyPr/>
        <a:lstStyle/>
        <a:p>
          <a:endParaRPr lang="en-US"/>
        </a:p>
      </dgm:t>
    </dgm:pt>
    <dgm:pt modelId="{227CF65E-44BF-4011-9F18-77F663D96969}" type="pres">
      <dgm:prSet presAssocID="{44C8A59E-D208-4867-9F84-1BFC43B7B30D}" presName="negativeSpace" presStyleCnt="0"/>
      <dgm:spPr/>
    </dgm:pt>
    <dgm:pt modelId="{E4BEB148-4EB4-49F6-9C7B-C9C2D52EF2A0}" type="pres">
      <dgm:prSet presAssocID="{44C8A59E-D208-4867-9F84-1BFC43B7B30D}" presName="childText" presStyleLbl="conFgAcc1" presStyleIdx="1" presStyleCnt="4">
        <dgm:presLayoutVars>
          <dgm:bulletEnabled val="1"/>
        </dgm:presLayoutVars>
      </dgm:prSet>
      <dgm:spPr/>
    </dgm:pt>
    <dgm:pt modelId="{71E7DFB4-3792-4640-8878-5C00B4AB508D}" type="pres">
      <dgm:prSet presAssocID="{FB09DF72-361C-41C1-8C0E-BFD866549B3E}" presName="spaceBetweenRectangles" presStyleCnt="0"/>
      <dgm:spPr/>
    </dgm:pt>
    <dgm:pt modelId="{B47EE34E-6056-462F-BE8B-B8C61529AD49}" type="pres">
      <dgm:prSet presAssocID="{8947847A-0E02-46FC-B24B-8CABE6E0FE3D}" presName="parentLin" presStyleCnt="0"/>
      <dgm:spPr/>
    </dgm:pt>
    <dgm:pt modelId="{A1FDB41B-8FA8-441E-8FF0-E5008069A022}" type="pres">
      <dgm:prSet presAssocID="{8947847A-0E02-46FC-B24B-8CABE6E0FE3D}" presName="parentLeftMargin" presStyleLbl="node1" presStyleIdx="1" presStyleCnt="4"/>
      <dgm:spPr/>
      <dgm:t>
        <a:bodyPr/>
        <a:lstStyle/>
        <a:p>
          <a:endParaRPr lang="en-US"/>
        </a:p>
      </dgm:t>
    </dgm:pt>
    <dgm:pt modelId="{CBF5ED3E-095E-4CFE-BA95-0A0410930347}" type="pres">
      <dgm:prSet presAssocID="{8947847A-0E02-46FC-B24B-8CABE6E0FE3D}" presName="parentText" presStyleLbl="node1" presStyleIdx="2" presStyleCnt="4" custLinFactNeighborX="18091" custLinFactNeighborY="-2978">
        <dgm:presLayoutVars>
          <dgm:chMax val="0"/>
          <dgm:bulletEnabled val="1"/>
        </dgm:presLayoutVars>
      </dgm:prSet>
      <dgm:spPr/>
      <dgm:t>
        <a:bodyPr/>
        <a:lstStyle/>
        <a:p>
          <a:endParaRPr lang="en-US"/>
        </a:p>
      </dgm:t>
    </dgm:pt>
    <dgm:pt modelId="{2701B89D-A7B4-460B-97FD-1F96859CF563}" type="pres">
      <dgm:prSet presAssocID="{8947847A-0E02-46FC-B24B-8CABE6E0FE3D}" presName="negativeSpace" presStyleCnt="0"/>
      <dgm:spPr/>
    </dgm:pt>
    <dgm:pt modelId="{EC5EB947-4FC7-416E-ABF6-3D141077F95B}" type="pres">
      <dgm:prSet presAssocID="{8947847A-0E02-46FC-B24B-8CABE6E0FE3D}" presName="childText" presStyleLbl="conFgAcc1" presStyleIdx="2" presStyleCnt="4">
        <dgm:presLayoutVars>
          <dgm:bulletEnabled val="1"/>
        </dgm:presLayoutVars>
      </dgm:prSet>
      <dgm:spPr/>
    </dgm:pt>
    <dgm:pt modelId="{4CC26D9C-480F-4B7B-8A98-3F5A96BB52C2}" type="pres">
      <dgm:prSet presAssocID="{6EFFC4CF-F573-439D-9C9F-6E40879B71A4}" presName="spaceBetweenRectangles" presStyleCnt="0"/>
      <dgm:spPr/>
    </dgm:pt>
    <dgm:pt modelId="{1F4C8B89-CCC9-4D92-A1C1-3AA144BEC4BC}" type="pres">
      <dgm:prSet presAssocID="{06397CB8-35B0-4C45-8FCC-5BFABF1CB8F7}" presName="parentLin" presStyleCnt="0"/>
      <dgm:spPr/>
    </dgm:pt>
    <dgm:pt modelId="{18517A22-F935-4242-9798-0CB04BDDF0A6}" type="pres">
      <dgm:prSet presAssocID="{06397CB8-35B0-4C45-8FCC-5BFABF1CB8F7}" presName="parentLeftMargin" presStyleLbl="node1" presStyleIdx="2" presStyleCnt="4"/>
      <dgm:spPr/>
      <dgm:t>
        <a:bodyPr/>
        <a:lstStyle/>
        <a:p>
          <a:endParaRPr lang="en-US"/>
        </a:p>
      </dgm:t>
    </dgm:pt>
    <dgm:pt modelId="{D2B0E507-61A2-4215-B191-56A1076EADBB}" type="pres">
      <dgm:prSet presAssocID="{06397CB8-35B0-4C45-8FCC-5BFABF1CB8F7}" presName="parentText" presStyleLbl="node1" presStyleIdx="3" presStyleCnt="4">
        <dgm:presLayoutVars>
          <dgm:chMax val="0"/>
          <dgm:bulletEnabled val="1"/>
        </dgm:presLayoutVars>
      </dgm:prSet>
      <dgm:spPr/>
      <dgm:t>
        <a:bodyPr/>
        <a:lstStyle/>
        <a:p>
          <a:endParaRPr lang="en-US"/>
        </a:p>
      </dgm:t>
    </dgm:pt>
    <dgm:pt modelId="{1DB4EB4D-71DA-4618-A343-7BD909BA4D45}" type="pres">
      <dgm:prSet presAssocID="{06397CB8-35B0-4C45-8FCC-5BFABF1CB8F7}" presName="negativeSpace" presStyleCnt="0"/>
      <dgm:spPr/>
    </dgm:pt>
    <dgm:pt modelId="{DC960DA1-98CB-4408-AFE9-CADC838B58DE}" type="pres">
      <dgm:prSet presAssocID="{06397CB8-35B0-4C45-8FCC-5BFABF1CB8F7}" presName="childText" presStyleLbl="conFgAcc1" presStyleIdx="3" presStyleCnt="4">
        <dgm:presLayoutVars>
          <dgm:bulletEnabled val="1"/>
        </dgm:presLayoutVars>
      </dgm:prSet>
      <dgm:spPr/>
    </dgm:pt>
  </dgm:ptLst>
  <dgm:cxnLst>
    <dgm:cxn modelId="{8470C940-4692-409E-9C4D-7FBBA5357592}" type="presOf" srcId="{8947847A-0E02-46FC-B24B-8CABE6E0FE3D}" destId="{CBF5ED3E-095E-4CFE-BA95-0A0410930347}" srcOrd="1" destOrd="0" presId="urn:microsoft.com/office/officeart/2005/8/layout/list1"/>
    <dgm:cxn modelId="{52AD634D-8A63-4137-824D-EF5482D119D1}" type="presOf" srcId="{9EF2D9FD-98F2-4D29-8991-DEE459CC90F3}" destId="{C0BF76D1-91BF-4335-91DE-561238F4B9C1}" srcOrd="0" destOrd="0" presId="urn:microsoft.com/office/officeart/2005/8/layout/list1"/>
    <dgm:cxn modelId="{7EBEC8B2-8F9C-4564-B7FE-09BF01A71C18}" srcId="{9EF2D9FD-98F2-4D29-8991-DEE459CC90F3}" destId="{44C8A59E-D208-4867-9F84-1BFC43B7B30D}" srcOrd="1" destOrd="0" parTransId="{D00314AF-F154-4F46-9279-9A02C07C0133}" sibTransId="{FB09DF72-361C-41C1-8C0E-BFD866549B3E}"/>
    <dgm:cxn modelId="{487477E8-2DFF-4FE3-B4DB-A52D21E61B5B}" srcId="{9EF2D9FD-98F2-4D29-8991-DEE459CC90F3}" destId="{06397CB8-35B0-4C45-8FCC-5BFABF1CB8F7}" srcOrd="3" destOrd="0" parTransId="{FABBD712-8D10-48DA-875E-981AB4181766}" sibTransId="{A848A9E9-BBDF-46EB-ADBC-68B0EDE12E8A}"/>
    <dgm:cxn modelId="{CAEC669E-8081-4D0C-8D17-82295432E17E}" type="presOf" srcId="{06397CB8-35B0-4C45-8FCC-5BFABF1CB8F7}" destId="{18517A22-F935-4242-9798-0CB04BDDF0A6}" srcOrd="0" destOrd="0" presId="urn:microsoft.com/office/officeart/2005/8/layout/list1"/>
    <dgm:cxn modelId="{AED49072-A333-4EA2-B2FA-D5B8BF2E2821}" type="presOf" srcId="{8947847A-0E02-46FC-B24B-8CABE6E0FE3D}" destId="{A1FDB41B-8FA8-441E-8FF0-E5008069A022}" srcOrd="0" destOrd="0" presId="urn:microsoft.com/office/officeart/2005/8/layout/list1"/>
    <dgm:cxn modelId="{3E3E83B8-A07A-48C9-9B95-CEB5BC39359F}" srcId="{9EF2D9FD-98F2-4D29-8991-DEE459CC90F3}" destId="{F00D9A7D-6B9B-4928-8677-0F3F1C3E25CD}" srcOrd="0" destOrd="0" parTransId="{3887A614-0F6C-4AEF-861F-22675BCA1B16}" sibTransId="{B99431D1-525E-4355-AEFD-6A99D2293994}"/>
    <dgm:cxn modelId="{8C400EE4-84C1-4F62-BEC7-5DBF8DAB46B1}" type="presOf" srcId="{44C8A59E-D208-4867-9F84-1BFC43B7B30D}" destId="{28E759F2-BFC8-4339-9EBA-F719E0C2B643}" srcOrd="0" destOrd="0" presId="urn:microsoft.com/office/officeart/2005/8/layout/list1"/>
    <dgm:cxn modelId="{CF72C5C8-D32F-42CE-BC75-C1B67627171B}" type="presOf" srcId="{06397CB8-35B0-4C45-8FCC-5BFABF1CB8F7}" destId="{D2B0E507-61A2-4215-B191-56A1076EADBB}" srcOrd="1" destOrd="0" presId="urn:microsoft.com/office/officeart/2005/8/layout/list1"/>
    <dgm:cxn modelId="{64485698-729E-4029-91E6-6731E94BFA77}" type="presOf" srcId="{44C8A59E-D208-4867-9F84-1BFC43B7B30D}" destId="{1AD415EB-52ED-46FC-A3C7-3569275633ED}" srcOrd="1" destOrd="0" presId="urn:microsoft.com/office/officeart/2005/8/layout/list1"/>
    <dgm:cxn modelId="{7E3A0E11-63AB-419C-B02E-0CC471BE198F}" srcId="{9EF2D9FD-98F2-4D29-8991-DEE459CC90F3}" destId="{8947847A-0E02-46FC-B24B-8CABE6E0FE3D}" srcOrd="2" destOrd="0" parTransId="{27C65E83-DD24-4E7B-BB41-A4444CBB8A01}" sibTransId="{6EFFC4CF-F573-439D-9C9F-6E40879B71A4}"/>
    <dgm:cxn modelId="{3AC82953-D76A-4403-81B5-E401C5114F99}" type="presOf" srcId="{F00D9A7D-6B9B-4928-8677-0F3F1C3E25CD}" destId="{BDD60971-4566-47E3-875A-1BAE24F634DC}" srcOrd="1" destOrd="0" presId="urn:microsoft.com/office/officeart/2005/8/layout/list1"/>
    <dgm:cxn modelId="{A9DD65EA-175A-4843-BCE4-A207EDDFC388}" type="presOf" srcId="{F00D9A7D-6B9B-4928-8677-0F3F1C3E25CD}" destId="{C20AF664-E806-43F9-9477-D394EF67AA5C}" srcOrd="0" destOrd="0" presId="urn:microsoft.com/office/officeart/2005/8/layout/list1"/>
    <dgm:cxn modelId="{55753E37-3737-41FC-B2DB-C892EC3DF72E}" type="presParOf" srcId="{C0BF76D1-91BF-4335-91DE-561238F4B9C1}" destId="{C151E56A-5A5D-421C-91AD-C7D3E49F0656}" srcOrd="0" destOrd="0" presId="urn:microsoft.com/office/officeart/2005/8/layout/list1"/>
    <dgm:cxn modelId="{7ED61840-B007-477E-A360-43D96D9B23D8}" type="presParOf" srcId="{C151E56A-5A5D-421C-91AD-C7D3E49F0656}" destId="{C20AF664-E806-43F9-9477-D394EF67AA5C}" srcOrd="0" destOrd="0" presId="urn:microsoft.com/office/officeart/2005/8/layout/list1"/>
    <dgm:cxn modelId="{ACC77E90-F8D3-48B3-B05F-5EC25CCC4849}" type="presParOf" srcId="{C151E56A-5A5D-421C-91AD-C7D3E49F0656}" destId="{BDD60971-4566-47E3-875A-1BAE24F634DC}" srcOrd="1" destOrd="0" presId="urn:microsoft.com/office/officeart/2005/8/layout/list1"/>
    <dgm:cxn modelId="{31BFEA55-B224-4BDF-8E98-A027BA08E5B1}" type="presParOf" srcId="{C0BF76D1-91BF-4335-91DE-561238F4B9C1}" destId="{F38299F1-B36F-453D-ADDD-4C5EA60441AA}" srcOrd="1" destOrd="0" presId="urn:microsoft.com/office/officeart/2005/8/layout/list1"/>
    <dgm:cxn modelId="{AA041D6C-DB17-4D9C-BA66-5EFF1744FA4D}" type="presParOf" srcId="{C0BF76D1-91BF-4335-91DE-561238F4B9C1}" destId="{9192898B-B926-45BB-A821-59AC3C1C8417}" srcOrd="2" destOrd="0" presId="urn:microsoft.com/office/officeart/2005/8/layout/list1"/>
    <dgm:cxn modelId="{C0020810-8870-41BD-AEE1-4FAF84D4F01F}" type="presParOf" srcId="{C0BF76D1-91BF-4335-91DE-561238F4B9C1}" destId="{136A55FB-DB0F-4E8C-9006-CB9B6AD69C90}" srcOrd="3" destOrd="0" presId="urn:microsoft.com/office/officeart/2005/8/layout/list1"/>
    <dgm:cxn modelId="{D2CE4D97-F4B0-48D2-9C19-5BE0C932C1FA}" type="presParOf" srcId="{C0BF76D1-91BF-4335-91DE-561238F4B9C1}" destId="{12EF30FF-06B8-46E7-B117-3A6A103C2244}" srcOrd="4" destOrd="0" presId="urn:microsoft.com/office/officeart/2005/8/layout/list1"/>
    <dgm:cxn modelId="{DCAE46E0-36F1-4036-8BEB-693DCC4EAF26}" type="presParOf" srcId="{12EF30FF-06B8-46E7-B117-3A6A103C2244}" destId="{28E759F2-BFC8-4339-9EBA-F719E0C2B643}" srcOrd="0" destOrd="0" presId="urn:microsoft.com/office/officeart/2005/8/layout/list1"/>
    <dgm:cxn modelId="{D6395505-76F3-4146-8878-BF19891831D6}" type="presParOf" srcId="{12EF30FF-06B8-46E7-B117-3A6A103C2244}" destId="{1AD415EB-52ED-46FC-A3C7-3569275633ED}" srcOrd="1" destOrd="0" presId="urn:microsoft.com/office/officeart/2005/8/layout/list1"/>
    <dgm:cxn modelId="{224EAED6-47BE-428C-B27D-426F79ACDC74}" type="presParOf" srcId="{C0BF76D1-91BF-4335-91DE-561238F4B9C1}" destId="{227CF65E-44BF-4011-9F18-77F663D96969}" srcOrd="5" destOrd="0" presId="urn:microsoft.com/office/officeart/2005/8/layout/list1"/>
    <dgm:cxn modelId="{8D1C4388-7128-4959-880A-FED5922B9C66}" type="presParOf" srcId="{C0BF76D1-91BF-4335-91DE-561238F4B9C1}" destId="{E4BEB148-4EB4-49F6-9C7B-C9C2D52EF2A0}" srcOrd="6" destOrd="0" presId="urn:microsoft.com/office/officeart/2005/8/layout/list1"/>
    <dgm:cxn modelId="{9BA6939D-B780-4158-BCEC-1A14864D1810}" type="presParOf" srcId="{C0BF76D1-91BF-4335-91DE-561238F4B9C1}" destId="{71E7DFB4-3792-4640-8878-5C00B4AB508D}" srcOrd="7" destOrd="0" presId="urn:microsoft.com/office/officeart/2005/8/layout/list1"/>
    <dgm:cxn modelId="{F3F7C029-7565-4FC3-A66B-009B1EB560D3}" type="presParOf" srcId="{C0BF76D1-91BF-4335-91DE-561238F4B9C1}" destId="{B47EE34E-6056-462F-BE8B-B8C61529AD49}" srcOrd="8" destOrd="0" presId="urn:microsoft.com/office/officeart/2005/8/layout/list1"/>
    <dgm:cxn modelId="{1504D692-E31C-4230-B750-51C27521A5C4}" type="presParOf" srcId="{B47EE34E-6056-462F-BE8B-B8C61529AD49}" destId="{A1FDB41B-8FA8-441E-8FF0-E5008069A022}" srcOrd="0" destOrd="0" presId="urn:microsoft.com/office/officeart/2005/8/layout/list1"/>
    <dgm:cxn modelId="{27871581-2341-4640-85AB-3C71A705604C}" type="presParOf" srcId="{B47EE34E-6056-462F-BE8B-B8C61529AD49}" destId="{CBF5ED3E-095E-4CFE-BA95-0A0410930347}" srcOrd="1" destOrd="0" presId="urn:microsoft.com/office/officeart/2005/8/layout/list1"/>
    <dgm:cxn modelId="{A687DDCD-0178-4DE5-8A5C-23A897068D4B}" type="presParOf" srcId="{C0BF76D1-91BF-4335-91DE-561238F4B9C1}" destId="{2701B89D-A7B4-460B-97FD-1F96859CF563}" srcOrd="9" destOrd="0" presId="urn:microsoft.com/office/officeart/2005/8/layout/list1"/>
    <dgm:cxn modelId="{8CC38025-CCAB-4086-AB91-16901784E0AF}" type="presParOf" srcId="{C0BF76D1-91BF-4335-91DE-561238F4B9C1}" destId="{EC5EB947-4FC7-416E-ABF6-3D141077F95B}" srcOrd="10" destOrd="0" presId="urn:microsoft.com/office/officeart/2005/8/layout/list1"/>
    <dgm:cxn modelId="{08D6E7AF-2A82-4B76-8D7B-39D97FF4E2CF}" type="presParOf" srcId="{C0BF76D1-91BF-4335-91DE-561238F4B9C1}" destId="{4CC26D9C-480F-4B7B-8A98-3F5A96BB52C2}" srcOrd="11" destOrd="0" presId="urn:microsoft.com/office/officeart/2005/8/layout/list1"/>
    <dgm:cxn modelId="{7B6DE758-99BB-4E39-AE1D-DEBFB1FC1503}" type="presParOf" srcId="{C0BF76D1-91BF-4335-91DE-561238F4B9C1}" destId="{1F4C8B89-CCC9-4D92-A1C1-3AA144BEC4BC}" srcOrd="12" destOrd="0" presId="urn:microsoft.com/office/officeart/2005/8/layout/list1"/>
    <dgm:cxn modelId="{9714FD73-B65D-447C-BF29-82680DDD6F61}" type="presParOf" srcId="{1F4C8B89-CCC9-4D92-A1C1-3AA144BEC4BC}" destId="{18517A22-F935-4242-9798-0CB04BDDF0A6}" srcOrd="0" destOrd="0" presId="urn:microsoft.com/office/officeart/2005/8/layout/list1"/>
    <dgm:cxn modelId="{CB2D4EE9-8A75-4525-B893-DB4C409795F5}" type="presParOf" srcId="{1F4C8B89-CCC9-4D92-A1C1-3AA144BEC4BC}" destId="{D2B0E507-61A2-4215-B191-56A1076EADBB}" srcOrd="1" destOrd="0" presId="urn:microsoft.com/office/officeart/2005/8/layout/list1"/>
    <dgm:cxn modelId="{B1B7E94A-C7EC-4738-A0AB-90F0824814EF}" type="presParOf" srcId="{C0BF76D1-91BF-4335-91DE-561238F4B9C1}" destId="{1DB4EB4D-71DA-4618-A343-7BD909BA4D45}" srcOrd="13" destOrd="0" presId="urn:microsoft.com/office/officeart/2005/8/layout/list1"/>
    <dgm:cxn modelId="{9278ABE4-C183-4F6B-94EA-215D7F300647}" type="presParOf" srcId="{C0BF76D1-91BF-4335-91DE-561238F4B9C1}" destId="{DC960DA1-98CB-4408-AFE9-CADC838B58DE}"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AB68E7A-693A-4729-B420-B30249E960E4}"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D3EDE722-9AAF-418D-A403-BF3EB3EE0F0E}">
      <dgm:prSet phldrT="[Text]"/>
      <dgm:spPr/>
      <dgm:t>
        <a:bodyPr/>
        <a:lstStyle/>
        <a:p>
          <a:r>
            <a:rPr lang="en-US" dirty="0" smtClean="0"/>
            <a:t>Robust and Reliable</a:t>
          </a:r>
          <a:endParaRPr lang="en-US" dirty="0"/>
        </a:p>
      </dgm:t>
    </dgm:pt>
    <dgm:pt modelId="{C35CA187-082A-432B-94E2-76D027C34617}" type="parTrans" cxnId="{EC7B15D3-41D8-4400-BA30-1FD4537A7192}">
      <dgm:prSet/>
      <dgm:spPr/>
      <dgm:t>
        <a:bodyPr/>
        <a:lstStyle/>
        <a:p>
          <a:endParaRPr lang="en-US"/>
        </a:p>
      </dgm:t>
    </dgm:pt>
    <dgm:pt modelId="{0ED9C31E-DC7F-4CE7-93C8-C79D31CB062D}" type="sibTrans" cxnId="{EC7B15D3-41D8-4400-BA30-1FD4537A7192}">
      <dgm:prSet/>
      <dgm:spPr/>
      <dgm:t>
        <a:bodyPr/>
        <a:lstStyle/>
        <a:p>
          <a:endParaRPr lang="en-US"/>
        </a:p>
      </dgm:t>
    </dgm:pt>
    <dgm:pt modelId="{21956F19-F6B7-4646-85DF-E99F3DCE74CF}">
      <dgm:prSet phldrT="[Text]"/>
      <dgm:spPr/>
      <dgm:t>
        <a:bodyPr/>
        <a:lstStyle/>
        <a:p>
          <a:r>
            <a:rPr lang="en-US" dirty="0" smtClean="0"/>
            <a:t>Best solution for scaling up the container.</a:t>
          </a:r>
          <a:endParaRPr lang="en-US" dirty="0"/>
        </a:p>
      </dgm:t>
    </dgm:pt>
    <dgm:pt modelId="{821CF310-B56A-4EBD-A73B-D099B2F15F62}" type="parTrans" cxnId="{B9AC900A-F598-4E71-AA9C-679BB1A96329}">
      <dgm:prSet/>
      <dgm:spPr/>
      <dgm:t>
        <a:bodyPr/>
        <a:lstStyle/>
        <a:p>
          <a:endParaRPr lang="en-US"/>
        </a:p>
      </dgm:t>
    </dgm:pt>
    <dgm:pt modelId="{D5FCCACA-7339-42CA-A0E7-3B4969CF85A9}" type="sibTrans" cxnId="{B9AC900A-F598-4E71-AA9C-679BB1A96329}">
      <dgm:prSet/>
      <dgm:spPr/>
      <dgm:t>
        <a:bodyPr/>
        <a:lstStyle/>
        <a:p>
          <a:endParaRPr lang="en-US"/>
        </a:p>
      </dgm:t>
    </dgm:pt>
    <dgm:pt modelId="{1C30F5FC-034A-4319-9E1C-7C0B3AF15FC6}">
      <dgm:prSet phldrT="[Text]"/>
      <dgm:spPr/>
      <dgm:t>
        <a:bodyPr/>
        <a:lstStyle/>
        <a:p>
          <a:r>
            <a:rPr lang="en-US" dirty="0" smtClean="0"/>
            <a:t>Container orchestration Platform</a:t>
          </a:r>
          <a:endParaRPr lang="en-US" dirty="0"/>
        </a:p>
      </dgm:t>
    </dgm:pt>
    <dgm:pt modelId="{619B7E0B-5221-433E-A93C-3B92B61B8DD2}" type="parTrans" cxnId="{5E993260-8543-4191-B1E0-9BDE018796EB}">
      <dgm:prSet/>
      <dgm:spPr/>
      <dgm:t>
        <a:bodyPr/>
        <a:lstStyle/>
        <a:p>
          <a:endParaRPr lang="en-US"/>
        </a:p>
      </dgm:t>
    </dgm:pt>
    <dgm:pt modelId="{5383AD4B-D9B1-45B0-BF8E-6478A8DDD13B}" type="sibTrans" cxnId="{5E993260-8543-4191-B1E0-9BDE018796EB}">
      <dgm:prSet/>
      <dgm:spPr/>
      <dgm:t>
        <a:bodyPr/>
        <a:lstStyle/>
        <a:p>
          <a:endParaRPr lang="en-US"/>
        </a:p>
      </dgm:t>
    </dgm:pt>
    <dgm:pt modelId="{467F019F-68B4-4C45-9E93-2F0FBD51AAEF}">
      <dgm:prSet phldrT="[Text]"/>
      <dgm:spPr/>
      <dgm:t>
        <a:bodyPr/>
        <a:lstStyle/>
        <a:p>
          <a:r>
            <a:rPr lang="en-US" dirty="0" smtClean="0"/>
            <a:t>Backed By Huge Community</a:t>
          </a:r>
          <a:endParaRPr lang="en-US" dirty="0"/>
        </a:p>
      </dgm:t>
    </dgm:pt>
    <dgm:pt modelId="{03DDB265-C866-4BE5-AFB7-6DE46BF9C7EE}" type="parTrans" cxnId="{5F49EF99-6591-4FD0-8EC1-B463CB440482}">
      <dgm:prSet/>
      <dgm:spPr/>
      <dgm:t>
        <a:bodyPr/>
        <a:lstStyle/>
        <a:p>
          <a:endParaRPr lang="en-US"/>
        </a:p>
      </dgm:t>
    </dgm:pt>
    <dgm:pt modelId="{4AAC2178-AA13-4949-BF62-7609761DD388}" type="sibTrans" cxnId="{5F49EF99-6591-4FD0-8EC1-B463CB440482}">
      <dgm:prSet/>
      <dgm:spPr/>
      <dgm:t>
        <a:bodyPr/>
        <a:lstStyle/>
        <a:p>
          <a:endParaRPr lang="en-US"/>
        </a:p>
      </dgm:t>
    </dgm:pt>
    <dgm:pt modelId="{55F1B402-C252-4A86-A84B-147CD2538BF2}" type="pres">
      <dgm:prSet presAssocID="{BAB68E7A-693A-4729-B420-B30249E960E4}" presName="Name0" presStyleCnt="0">
        <dgm:presLayoutVars>
          <dgm:dir/>
          <dgm:resizeHandles val="exact"/>
        </dgm:presLayoutVars>
      </dgm:prSet>
      <dgm:spPr/>
      <dgm:t>
        <a:bodyPr/>
        <a:lstStyle/>
        <a:p>
          <a:endParaRPr lang="en-US"/>
        </a:p>
      </dgm:t>
    </dgm:pt>
    <dgm:pt modelId="{14A83B23-BD39-4D0E-A388-768BC3184767}" type="pres">
      <dgm:prSet presAssocID="{D3EDE722-9AAF-418D-A403-BF3EB3EE0F0E}" presName="compNode" presStyleCnt="0"/>
      <dgm:spPr/>
    </dgm:pt>
    <dgm:pt modelId="{87D9A7DA-A470-4812-BF66-FFDD07FDD75B}" type="pres">
      <dgm:prSet presAssocID="{D3EDE722-9AAF-418D-A403-BF3EB3EE0F0E}" presName="pictRect" presStyleLbl="node1" presStyleIdx="0" presStyleCnt="4"/>
      <dgm:spPr/>
    </dgm:pt>
    <dgm:pt modelId="{93937FA4-4DCB-423A-B414-FDAE4F3AECC2}" type="pres">
      <dgm:prSet presAssocID="{D3EDE722-9AAF-418D-A403-BF3EB3EE0F0E}" presName="textRect" presStyleLbl="revTx" presStyleIdx="0" presStyleCnt="4">
        <dgm:presLayoutVars>
          <dgm:bulletEnabled val="1"/>
        </dgm:presLayoutVars>
      </dgm:prSet>
      <dgm:spPr/>
      <dgm:t>
        <a:bodyPr/>
        <a:lstStyle/>
        <a:p>
          <a:endParaRPr lang="en-US"/>
        </a:p>
      </dgm:t>
    </dgm:pt>
    <dgm:pt modelId="{2ACBEBBB-6DF5-406E-A38B-25AA6145F463}" type="pres">
      <dgm:prSet presAssocID="{0ED9C31E-DC7F-4CE7-93C8-C79D31CB062D}" presName="sibTrans" presStyleLbl="sibTrans2D1" presStyleIdx="0" presStyleCnt="0"/>
      <dgm:spPr/>
      <dgm:t>
        <a:bodyPr/>
        <a:lstStyle/>
        <a:p>
          <a:endParaRPr lang="en-US"/>
        </a:p>
      </dgm:t>
    </dgm:pt>
    <dgm:pt modelId="{A6572DEC-5501-4942-A554-6515620395E9}" type="pres">
      <dgm:prSet presAssocID="{21956F19-F6B7-4646-85DF-E99F3DCE74CF}" presName="compNode" presStyleCnt="0"/>
      <dgm:spPr/>
    </dgm:pt>
    <dgm:pt modelId="{1817F9C6-700C-42AD-89E7-D1FE843E0B50}" type="pres">
      <dgm:prSet presAssocID="{21956F19-F6B7-4646-85DF-E99F3DCE74CF}" presName="pictRect" presStyleLbl="node1" presStyleIdx="1" presStyleCnt="4"/>
      <dgm:spPr/>
    </dgm:pt>
    <dgm:pt modelId="{E5BA4B9E-7B74-4E67-AE2E-83635B29A8FC}" type="pres">
      <dgm:prSet presAssocID="{21956F19-F6B7-4646-85DF-E99F3DCE74CF}" presName="textRect" presStyleLbl="revTx" presStyleIdx="1" presStyleCnt="4">
        <dgm:presLayoutVars>
          <dgm:bulletEnabled val="1"/>
        </dgm:presLayoutVars>
      </dgm:prSet>
      <dgm:spPr/>
      <dgm:t>
        <a:bodyPr/>
        <a:lstStyle/>
        <a:p>
          <a:endParaRPr lang="en-US"/>
        </a:p>
      </dgm:t>
    </dgm:pt>
    <dgm:pt modelId="{B79F04D2-A4F8-4358-8366-BC148A259333}" type="pres">
      <dgm:prSet presAssocID="{D5FCCACA-7339-42CA-A0E7-3B4969CF85A9}" presName="sibTrans" presStyleLbl="sibTrans2D1" presStyleIdx="0" presStyleCnt="0"/>
      <dgm:spPr/>
      <dgm:t>
        <a:bodyPr/>
        <a:lstStyle/>
        <a:p>
          <a:endParaRPr lang="en-US"/>
        </a:p>
      </dgm:t>
    </dgm:pt>
    <dgm:pt modelId="{691A267B-269B-4725-8EBC-E02A6163FFAF}" type="pres">
      <dgm:prSet presAssocID="{1C30F5FC-034A-4319-9E1C-7C0B3AF15FC6}" presName="compNode" presStyleCnt="0"/>
      <dgm:spPr/>
    </dgm:pt>
    <dgm:pt modelId="{F298E3DC-7DF1-4F2B-B1E2-181404F3DA04}" type="pres">
      <dgm:prSet presAssocID="{1C30F5FC-034A-4319-9E1C-7C0B3AF15FC6}" presName="pictRect" presStyleLbl="node1" presStyleIdx="2" presStyleCnt="4"/>
      <dgm:spPr/>
    </dgm:pt>
    <dgm:pt modelId="{88F64602-BE3F-4D18-8071-C5FC96B413CB}" type="pres">
      <dgm:prSet presAssocID="{1C30F5FC-034A-4319-9E1C-7C0B3AF15FC6}" presName="textRect" presStyleLbl="revTx" presStyleIdx="2" presStyleCnt="4">
        <dgm:presLayoutVars>
          <dgm:bulletEnabled val="1"/>
        </dgm:presLayoutVars>
      </dgm:prSet>
      <dgm:spPr/>
      <dgm:t>
        <a:bodyPr/>
        <a:lstStyle/>
        <a:p>
          <a:endParaRPr lang="en-US"/>
        </a:p>
      </dgm:t>
    </dgm:pt>
    <dgm:pt modelId="{8E797550-1407-4D17-A800-119C8BE1F6A9}" type="pres">
      <dgm:prSet presAssocID="{5383AD4B-D9B1-45B0-BF8E-6478A8DDD13B}" presName="sibTrans" presStyleLbl="sibTrans2D1" presStyleIdx="0" presStyleCnt="0"/>
      <dgm:spPr/>
      <dgm:t>
        <a:bodyPr/>
        <a:lstStyle/>
        <a:p>
          <a:endParaRPr lang="en-US"/>
        </a:p>
      </dgm:t>
    </dgm:pt>
    <dgm:pt modelId="{2ED79C68-8C89-421B-B574-87C661A8B02C}" type="pres">
      <dgm:prSet presAssocID="{467F019F-68B4-4C45-9E93-2F0FBD51AAEF}" presName="compNode" presStyleCnt="0"/>
      <dgm:spPr/>
    </dgm:pt>
    <dgm:pt modelId="{52DA3855-6139-420E-B90F-642BC175BC13}" type="pres">
      <dgm:prSet presAssocID="{467F019F-68B4-4C45-9E93-2F0FBD51AAEF}" presName="pictRect" presStyleLbl="node1" presStyleIdx="3" presStyleCnt="4"/>
      <dgm:spPr/>
    </dgm:pt>
    <dgm:pt modelId="{7C9F2B15-C30B-477F-B385-58BB929FBF09}" type="pres">
      <dgm:prSet presAssocID="{467F019F-68B4-4C45-9E93-2F0FBD51AAEF}" presName="textRect" presStyleLbl="revTx" presStyleIdx="3" presStyleCnt="4">
        <dgm:presLayoutVars>
          <dgm:bulletEnabled val="1"/>
        </dgm:presLayoutVars>
      </dgm:prSet>
      <dgm:spPr/>
      <dgm:t>
        <a:bodyPr/>
        <a:lstStyle/>
        <a:p>
          <a:endParaRPr lang="en-US"/>
        </a:p>
      </dgm:t>
    </dgm:pt>
  </dgm:ptLst>
  <dgm:cxnLst>
    <dgm:cxn modelId="{B9AC900A-F598-4E71-AA9C-679BB1A96329}" srcId="{BAB68E7A-693A-4729-B420-B30249E960E4}" destId="{21956F19-F6B7-4646-85DF-E99F3DCE74CF}" srcOrd="1" destOrd="0" parTransId="{821CF310-B56A-4EBD-A73B-D099B2F15F62}" sibTransId="{D5FCCACA-7339-42CA-A0E7-3B4969CF85A9}"/>
    <dgm:cxn modelId="{F18F8403-3EA8-4DD7-B095-A879A6C64B2B}" type="presOf" srcId="{5383AD4B-D9B1-45B0-BF8E-6478A8DDD13B}" destId="{8E797550-1407-4D17-A800-119C8BE1F6A9}" srcOrd="0" destOrd="0" presId="urn:microsoft.com/office/officeart/2005/8/layout/pList1"/>
    <dgm:cxn modelId="{EC7B15D3-41D8-4400-BA30-1FD4537A7192}" srcId="{BAB68E7A-693A-4729-B420-B30249E960E4}" destId="{D3EDE722-9AAF-418D-A403-BF3EB3EE0F0E}" srcOrd="0" destOrd="0" parTransId="{C35CA187-082A-432B-94E2-76D027C34617}" sibTransId="{0ED9C31E-DC7F-4CE7-93C8-C79D31CB062D}"/>
    <dgm:cxn modelId="{5F49EF99-6591-4FD0-8EC1-B463CB440482}" srcId="{BAB68E7A-693A-4729-B420-B30249E960E4}" destId="{467F019F-68B4-4C45-9E93-2F0FBD51AAEF}" srcOrd="3" destOrd="0" parTransId="{03DDB265-C866-4BE5-AFB7-6DE46BF9C7EE}" sibTransId="{4AAC2178-AA13-4949-BF62-7609761DD388}"/>
    <dgm:cxn modelId="{D494CCCB-6126-4302-B772-F907EFA3F395}" type="presOf" srcId="{BAB68E7A-693A-4729-B420-B30249E960E4}" destId="{55F1B402-C252-4A86-A84B-147CD2538BF2}" srcOrd="0" destOrd="0" presId="urn:microsoft.com/office/officeart/2005/8/layout/pList1"/>
    <dgm:cxn modelId="{D6CF430B-4BE6-4A82-A84D-DDEDE4204250}" type="presOf" srcId="{467F019F-68B4-4C45-9E93-2F0FBD51AAEF}" destId="{7C9F2B15-C30B-477F-B385-58BB929FBF09}" srcOrd="0" destOrd="0" presId="urn:microsoft.com/office/officeart/2005/8/layout/pList1"/>
    <dgm:cxn modelId="{5DDF761C-39F2-4C1A-9BC6-97481B697FE8}" type="presOf" srcId="{D5FCCACA-7339-42CA-A0E7-3B4969CF85A9}" destId="{B79F04D2-A4F8-4358-8366-BC148A259333}" srcOrd="0" destOrd="0" presId="urn:microsoft.com/office/officeart/2005/8/layout/pList1"/>
    <dgm:cxn modelId="{5E993260-8543-4191-B1E0-9BDE018796EB}" srcId="{BAB68E7A-693A-4729-B420-B30249E960E4}" destId="{1C30F5FC-034A-4319-9E1C-7C0B3AF15FC6}" srcOrd="2" destOrd="0" parTransId="{619B7E0B-5221-433E-A93C-3B92B61B8DD2}" sibTransId="{5383AD4B-D9B1-45B0-BF8E-6478A8DDD13B}"/>
    <dgm:cxn modelId="{12820432-51BD-4718-9B90-DB9FCE4180CE}" type="presOf" srcId="{0ED9C31E-DC7F-4CE7-93C8-C79D31CB062D}" destId="{2ACBEBBB-6DF5-406E-A38B-25AA6145F463}" srcOrd="0" destOrd="0" presId="urn:microsoft.com/office/officeart/2005/8/layout/pList1"/>
    <dgm:cxn modelId="{03B66A3C-1085-4768-BD36-0724A90407FC}" type="presOf" srcId="{D3EDE722-9AAF-418D-A403-BF3EB3EE0F0E}" destId="{93937FA4-4DCB-423A-B414-FDAE4F3AECC2}" srcOrd="0" destOrd="0" presId="urn:microsoft.com/office/officeart/2005/8/layout/pList1"/>
    <dgm:cxn modelId="{47FC4BDE-C00C-4EB6-83F2-3DE6A71FD0EA}" type="presOf" srcId="{21956F19-F6B7-4646-85DF-E99F3DCE74CF}" destId="{E5BA4B9E-7B74-4E67-AE2E-83635B29A8FC}" srcOrd="0" destOrd="0" presId="urn:microsoft.com/office/officeart/2005/8/layout/pList1"/>
    <dgm:cxn modelId="{05FC8649-6A0D-4792-BDD8-5151D31E4848}" type="presOf" srcId="{1C30F5FC-034A-4319-9E1C-7C0B3AF15FC6}" destId="{88F64602-BE3F-4D18-8071-C5FC96B413CB}" srcOrd="0" destOrd="0" presId="urn:microsoft.com/office/officeart/2005/8/layout/pList1"/>
    <dgm:cxn modelId="{61946497-514C-488B-BA75-B6108442DAB4}" type="presParOf" srcId="{55F1B402-C252-4A86-A84B-147CD2538BF2}" destId="{14A83B23-BD39-4D0E-A388-768BC3184767}" srcOrd="0" destOrd="0" presId="urn:microsoft.com/office/officeart/2005/8/layout/pList1"/>
    <dgm:cxn modelId="{BC1EAC81-077A-4485-8833-13FD097C72F9}" type="presParOf" srcId="{14A83B23-BD39-4D0E-A388-768BC3184767}" destId="{87D9A7DA-A470-4812-BF66-FFDD07FDD75B}" srcOrd="0" destOrd="0" presId="urn:microsoft.com/office/officeart/2005/8/layout/pList1"/>
    <dgm:cxn modelId="{37B0EF4A-7AD2-4292-A898-609CF9BC2CCC}" type="presParOf" srcId="{14A83B23-BD39-4D0E-A388-768BC3184767}" destId="{93937FA4-4DCB-423A-B414-FDAE4F3AECC2}" srcOrd="1" destOrd="0" presId="urn:microsoft.com/office/officeart/2005/8/layout/pList1"/>
    <dgm:cxn modelId="{B3087012-4872-4044-8FFD-346DF1EDF755}" type="presParOf" srcId="{55F1B402-C252-4A86-A84B-147CD2538BF2}" destId="{2ACBEBBB-6DF5-406E-A38B-25AA6145F463}" srcOrd="1" destOrd="0" presId="urn:microsoft.com/office/officeart/2005/8/layout/pList1"/>
    <dgm:cxn modelId="{34D6FFEC-A839-481F-A468-B6BEB316B37C}" type="presParOf" srcId="{55F1B402-C252-4A86-A84B-147CD2538BF2}" destId="{A6572DEC-5501-4942-A554-6515620395E9}" srcOrd="2" destOrd="0" presId="urn:microsoft.com/office/officeart/2005/8/layout/pList1"/>
    <dgm:cxn modelId="{7544AD41-0E0A-4F1E-93B9-5D6F97893B82}" type="presParOf" srcId="{A6572DEC-5501-4942-A554-6515620395E9}" destId="{1817F9C6-700C-42AD-89E7-D1FE843E0B50}" srcOrd="0" destOrd="0" presId="urn:microsoft.com/office/officeart/2005/8/layout/pList1"/>
    <dgm:cxn modelId="{20580F7D-BB29-4095-83E6-7208C92AB3EE}" type="presParOf" srcId="{A6572DEC-5501-4942-A554-6515620395E9}" destId="{E5BA4B9E-7B74-4E67-AE2E-83635B29A8FC}" srcOrd="1" destOrd="0" presId="urn:microsoft.com/office/officeart/2005/8/layout/pList1"/>
    <dgm:cxn modelId="{77BAB190-61DD-4145-8444-B20E5524DBC3}" type="presParOf" srcId="{55F1B402-C252-4A86-A84B-147CD2538BF2}" destId="{B79F04D2-A4F8-4358-8366-BC148A259333}" srcOrd="3" destOrd="0" presId="urn:microsoft.com/office/officeart/2005/8/layout/pList1"/>
    <dgm:cxn modelId="{EA82EBBD-8695-4B1C-9A8D-E3C9D8C88DD2}" type="presParOf" srcId="{55F1B402-C252-4A86-A84B-147CD2538BF2}" destId="{691A267B-269B-4725-8EBC-E02A6163FFAF}" srcOrd="4" destOrd="0" presId="urn:microsoft.com/office/officeart/2005/8/layout/pList1"/>
    <dgm:cxn modelId="{C1512A7F-B46B-4174-BD5B-98FC7675961D}" type="presParOf" srcId="{691A267B-269B-4725-8EBC-E02A6163FFAF}" destId="{F298E3DC-7DF1-4F2B-B1E2-181404F3DA04}" srcOrd="0" destOrd="0" presId="urn:microsoft.com/office/officeart/2005/8/layout/pList1"/>
    <dgm:cxn modelId="{DDF9D667-DB6F-4094-8468-DED6AEC882FC}" type="presParOf" srcId="{691A267B-269B-4725-8EBC-E02A6163FFAF}" destId="{88F64602-BE3F-4D18-8071-C5FC96B413CB}" srcOrd="1" destOrd="0" presId="urn:microsoft.com/office/officeart/2005/8/layout/pList1"/>
    <dgm:cxn modelId="{81B2646C-E2AA-4729-8652-A0E59C448025}" type="presParOf" srcId="{55F1B402-C252-4A86-A84B-147CD2538BF2}" destId="{8E797550-1407-4D17-A800-119C8BE1F6A9}" srcOrd="5" destOrd="0" presId="urn:microsoft.com/office/officeart/2005/8/layout/pList1"/>
    <dgm:cxn modelId="{8C9E55EB-F3E6-489A-BFDE-B065BACDB06D}" type="presParOf" srcId="{55F1B402-C252-4A86-A84B-147CD2538BF2}" destId="{2ED79C68-8C89-421B-B574-87C661A8B02C}" srcOrd="6" destOrd="0" presId="urn:microsoft.com/office/officeart/2005/8/layout/pList1"/>
    <dgm:cxn modelId="{B0A4B74B-8D2D-434D-A93B-EEF893538305}" type="presParOf" srcId="{2ED79C68-8C89-421B-B574-87C661A8B02C}" destId="{52DA3855-6139-420E-B90F-642BC175BC13}" srcOrd="0" destOrd="0" presId="urn:microsoft.com/office/officeart/2005/8/layout/pList1"/>
    <dgm:cxn modelId="{8F0A42B9-2CAD-4A7C-8903-45540D42602E}" type="presParOf" srcId="{2ED79C68-8C89-421B-B574-87C661A8B02C}" destId="{7C9F2B15-C30B-477F-B385-58BB929FBF09}" srcOrd="1" destOrd="0" presId="urn:microsoft.com/office/officeart/2005/8/layout/p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C7AF1C-E70B-4D0E-A227-CA35A5F398DA}">
      <dsp:nvSpPr>
        <dsp:cNvPr id="0" name=""/>
        <dsp:cNvSpPr/>
      </dsp:nvSpPr>
      <dsp:spPr>
        <a:xfrm>
          <a:off x="907039" y="2034"/>
          <a:ext cx="4980421" cy="452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b" anchorCtr="0">
          <a:noAutofit/>
        </a:bodyPr>
        <a:lstStyle/>
        <a:p>
          <a:pPr lvl="0" algn="l" defTabSz="933450">
            <a:lnSpc>
              <a:spcPct val="90000"/>
            </a:lnSpc>
            <a:spcBef>
              <a:spcPct val="0"/>
            </a:spcBef>
            <a:spcAft>
              <a:spcPct val="35000"/>
            </a:spcAft>
          </a:pPr>
          <a:r>
            <a:rPr lang="en-IN" sz="2100" b="0" kern="1200" dirty="0" smtClean="0"/>
            <a:t>Container Orchestration</a:t>
          </a:r>
          <a:endParaRPr lang="en-US" sz="2100" b="0" kern="1200" dirty="0"/>
        </a:p>
      </dsp:txBody>
      <dsp:txXfrm>
        <a:off x="907039" y="2034"/>
        <a:ext cx="4980421" cy="452765"/>
      </dsp:txXfrm>
    </dsp:sp>
    <dsp:sp modelId="{A71E7674-9986-4172-8E5D-5B58CED9CA1D}">
      <dsp:nvSpPr>
        <dsp:cNvPr id="0" name=""/>
        <dsp:cNvSpPr/>
      </dsp:nvSpPr>
      <dsp:spPr>
        <a:xfrm>
          <a:off x="907039" y="45479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E546E54-29AC-4651-B635-39DD896CB898}">
      <dsp:nvSpPr>
        <dsp:cNvPr id="0" name=""/>
        <dsp:cNvSpPr/>
      </dsp:nvSpPr>
      <dsp:spPr>
        <a:xfrm>
          <a:off x="1609832" y="45479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1523ED4-6CC6-405E-BC71-885C259553E1}">
      <dsp:nvSpPr>
        <dsp:cNvPr id="0" name=""/>
        <dsp:cNvSpPr/>
      </dsp:nvSpPr>
      <dsp:spPr>
        <a:xfrm>
          <a:off x="2312624" y="45479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B64CB08-BCE5-4718-8CEA-6EB227045853}">
      <dsp:nvSpPr>
        <dsp:cNvPr id="0" name=""/>
        <dsp:cNvSpPr/>
      </dsp:nvSpPr>
      <dsp:spPr>
        <a:xfrm>
          <a:off x="3015417" y="45479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89BB41-6F59-4B63-BD88-D78DA7C7F33E}">
      <dsp:nvSpPr>
        <dsp:cNvPr id="0" name=""/>
        <dsp:cNvSpPr/>
      </dsp:nvSpPr>
      <dsp:spPr>
        <a:xfrm>
          <a:off x="3718210" y="45479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B0E095-FBDB-469F-8451-02E60563F4E3}">
      <dsp:nvSpPr>
        <dsp:cNvPr id="0" name=""/>
        <dsp:cNvSpPr/>
      </dsp:nvSpPr>
      <dsp:spPr>
        <a:xfrm>
          <a:off x="4421003" y="45479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498581-DDBA-45B9-89B8-2AD562C5CA70}">
      <dsp:nvSpPr>
        <dsp:cNvPr id="0" name=""/>
        <dsp:cNvSpPr/>
      </dsp:nvSpPr>
      <dsp:spPr>
        <a:xfrm>
          <a:off x="5123796" y="45479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1C923F-2A7A-4B70-94D1-0133DB1E3762}">
      <dsp:nvSpPr>
        <dsp:cNvPr id="0" name=""/>
        <dsp:cNvSpPr/>
      </dsp:nvSpPr>
      <dsp:spPr>
        <a:xfrm>
          <a:off x="907039" y="636754"/>
          <a:ext cx="4980421" cy="452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b" anchorCtr="0">
          <a:noAutofit/>
        </a:bodyPr>
        <a:lstStyle/>
        <a:p>
          <a:pPr lvl="0" algn="l" defTabSz="933450">
            <a:lnSpc>
              <a:spcPct val="90000"/>
            </a:lnSpc>
            <a:spcBef>
              <a:spcPct val="0"/>
            </a:spcBef>
            <a:spcAft>
              <a:spcPct val="35000"/>
            </a:spcAft>
          </a:pPr>
          <a:r>
            <a:rPr lang="en-US" sz="2100" kern="1200" dirty="0" smtClean="0"/>
            <a:t>What Is Kubernetes</a:t>
          </a:r>
          <a:endParaRPr lang="en-US" sz="2100" kern="1200" dirty="0"/>
        </a:p>
      </dsp:txBody>
      <dsp:txXfrm>
        <a:off x="907039" y="636754"/>
        <a:ext cx="4980421" cy="452765"/>
      </dsp:txXfrm>
    </dsp:sp>
    <dsp:sp modelId="{AF2DE573-BD02-4E7F-9DD5-2771A60D6B64}">
      <dsp:nvSpPr>
        <dsp:cNvPr id="0" name=""/>
        <dsp:cNvSpPr/>
      </dsp:nvSpPr>
      <dsp:spPr>
        <a:xfrm>
          <a:off x="907039" y="108951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7FAC64-C37C-4323-913D-D4A88FE9F9EC}">
      <dsp:nvSpPr>
        <dsp:cNvPr id="0" name=""/>
        <dsp:cNvSpPr/>
      </dsp:nvSpPr>
      <dsp:spPr>
        <a:xfrm>
          <a:off x="1609832" y="108951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F62D0C-792A-4EC1-B404-CCB490F3F6F3}">
      <dsp:nvSpPr>
        <dsp:cNvPr id="0" name=""/>
        <dsp:cNvSpPr/>
      </dsp:nvSpPr>
      <dsp:spPr>
        <a:xfrm>
          <a:off x="2312624" y="108951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F35C6C-5856-4DCB-BA7B-E887A58BCACF}">
      <dsp:nvSpPr>
        <dsp:cNvPr id="0" name=""/>
        <dsp:cNvSpPr/>
      </dsp:nvSpPr>
      <dsp:spPr>
        <a:xfrm>
          <a:off x="3015417" y="108951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108FF4-5909-4299-B430-F3BDE96F4B0F}">
      <dsp:nvSpPr>
        <dsp:cNvPr id="0" name=""/>
        <dsp:cNvSpPr/>
      </dsp:nvSpPr>
      <dsp:spPr>
        <a:xfrm>
          <a:off x="3718210" y="108951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3C22FE-6991-4B50-8974-A6356AE1C3C4}">
      <dsp:nvSpPr>
        <dsp:cNvPr id="0" name=""/>
        <dsp:cNvSpPr/>
      </dsp:nvSpPr>
      <dsp:spPr>
        <a:xfrm>
          <a:off x="4421003" y="108951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D4B161-6A4A-4D73-BEF5-185ADD3D721C}">
      <dsp:nvSpPr>
        <dsp:cNvPr id="0" name=""/>
        <dsp:cNvSpPr/>
      </dsp:nvSpPr>
      <dsp:spPr>
        <a:xfrm>
          <a:off x="5123796" y="108951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2A3030-8920-4190-A37A-883797A79122}">
      <dsp:nvSpPr>
        <dsp:cNvPr id="0" name=""/>
        <dsp:cNvSpPr/>
      </dsp:nvSpPr>
      <dsp:spPr>
        <a:xfrm>
          <a:off x="907039" y="1271473"/>
          <a:ext cx="4980421" cy="452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b" anchorCtr="0">
          <a:noAutofit/>
        </a:bodyPr>
        <a:lstStyle/>
        <a:p>
          <a:pPr lvl="0" algn="l" defTabSz="933450">
            <a:lnSpc>
              <a:spcPct val="90000"/>
            </a:lnSpc>
            <a:spcBef>
              <a:spcPct val="0"/>
            </a:spcBef>
            <a:spcAft>
              <a:spcPct val="35000"/>
            </a:spcAft>
          </a:pPr>
          <a:r>
            <a:rPr lang="en-US" sz="2100" kern="1200" dirty="0" smtClean="0"/>
            <a:t>Kubernetes What and Why</a:t>
          </a:r>
          <a:endParaRPr lang="en-US" sz="2100" kern="1200" dirty="0"/>
        </a:p>
      </dsp:txBody>
      <dsp:txXfrm>
        <a:off x="907039" y="1271473"/>
        <a:ext cx="4980421" cy="452765"/>
      </dsp:txXfrm>
    </dsp:sp>
    <dsp:sp modelId="{7E31B040-266C-4DAC-B595-1E6EBC9F2DB0}">
      <dsp:nvSpPr>
        <dsp:cNvPr id="0" name=""/>
        <dsp:cNvSpPr/>
      </dsp:nvSpPr>
      <dsp:spPr>
        <a:xfrm>
          <a:off x="907039" y="172423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CAF107-D9F5-4F95-957B-F02FA65B54C9}">
      <dsp:nvSpPr>
        <dsp:cNvPr id="0" name=""/>
        <dsp:cNvSpPr/>
      </dsp:nvSpPr>
      <dsp:spPr>
        <a:xfrm>
          <a:off x="1609832" y="172423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B2CE94-8403-4397-9AC7-35A337601967}">
      <dsp:nvSpPr>
        <dsp:cNvPr id="0" name=""/>
        <dsp:cNvSpPr/>
      </dsp:nvSpPr>
      <dsp:spPr>
        <a:xfrm>
          <a:off x="2312624" y="172423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A14714-1A0C-4C0A-A5A6-D9207EAF19D0}">
      <dsp:nvSpPr>
        <dsp:cNvPr id="0" name=""/>
        <dsp:cNvSpPr/>
      </dsp:nvSpPr>
      <dsp:spPr>
        <a:xfrm>
          <a:off x="3015417" y="172423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14238D-9540-4C16-8C42-C861F8BC1F2E}">
      <dsp:nvSpPr>
        <dsp:cNvPr id="0" name=""/>
        <dsp:cNvSpPr/>
      </dsp:nvSpPr>
      <dsp:spPr>
        <a:xfrm>
          <a:off x="3718210" y="172423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827FCD-F254-44A9-B832-35A6B3D33B46}">
      <dsp:nvSpPr>
        <dsp:cNvPr id="0" name=""/>
        <dsp:cNvSpPr/>
      </dsp:nvSpPr>
      <dsp:spPr>
        <a:xfrm>
          <a:off x="4421003" y="172423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817272-940A-45CD-9BBF-FEC21B53898E}">
      <dsp:nvSpPr>
        <dsp:cNvPr id="0" name=""/>
        <dsp:cNvSpPr/>
      </dsp:nvSpPr>
      <dsp:spPr>
        <a:xfrm>
          <a:off x="5123796" y="172423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7581C3-C40E-4963-AEED-012CE7CCC1E4}">
      <dsp:nvSpPr>
        <dsp:cNvPr id="0" name=""/>
        <dsp:cNvSpPr/>
      </dsp:nvSpPr>
      <dsp:spPr>
        <a:xfrm>
          <a:off x="907039" y="1906193"/>
          <a:ext cx="4980421" cy="452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b" anchorCtr="0">
          <a:noAutofit/>
        </a:bodyPr>
        <a:lstStyle/>
        <a:p>
          <a:pPr lvl="0" algn="l" defTabSz="933450">
            <a:lnSpc>
              <a:spcPct val="90000"/>
            </a:lnSpc>
            <a:spcBef>
              <a:spcPct val="0"/>
            </a:spcBef>
            <a:spcAft>
              <a:spcPct val="35000"/>
            </a:spcAft>
          </a:pPr>
          <a:r>
            <a:rPr lang="en-US" sz="2100" kern="1200" dirty="0" smtClean="0"/>
            <a:t>Need Of Kubernetes</a:t>
          </a:r>
          <a:endParaRPr lang="en-US" sz="2100" kern="1200" dirty="0"/>
        </a:p>
      </dsp:txBody>
      <dsp:txXfrm>
        <a:off x="907039" y="1906193"/>
        <a:ext cx="4980421" cy="452765"/>
      </dsp:txXfrm>
    </dsp:sp>
    <dsp:sp modelId="{CAEF1B8C-15D5-4DA2-A414-DD9BE6517414}">
      <dsp:nvSpPr>
        <dsp:cNvPr id="0" name=""/>
        <dsp:cNvSpPr/>
      </dsp:nvSpPr>
      <dsp:spPr>
        <a:xfrm>
          <a:off x="907039" y="235895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D52A3A-F16E-478B-A9DA-B903750F509E}">
      <dsp:nvSpPr>
        <dsp:cNvPr id="0" name=""/>
        <dsp:cNvSpPr/>
      </dsp:nvSpPr>
      <dsp:spPr>
        <a:xfrm>
          <a:off x="1609832" y="235895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2D379-ACC1-44DF-B61E-E243B549EA37}">
      <dsp:nvSpPr>
        <dsp:cNvPr id="0" name=""/>
        <dsp:cNvSpPr/>
      </dsp:nvSpPr>
      <dsp:spPr>
        <a:xfrm>
          <a:off x="2312624" y="235895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5F551E-E06D-40CB-908D-E84391463067}">
      <dsp:nvSpPr>
        <dsp:cNvPr id="0" name=""/>
        <dsp:cNvSpPr/>
      </dsp:nvSpPr>
      <dsp:spPr>
        <a:xfrm>
          <a:off x="3015417" y="235895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487A14-84E2-44A5-91D4-7757FBB254EC}">
      <dsp:nvSpPr>
        <dsp:cNvPr id="0" name=""/>
        <dsp:cNvSpPr/>
      </dsp:nvSpPr>
      <dsp:spPr>
        <a:xfrm>
          <a:off x="3718210" y="235895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7A9DA2-DE8E-44B4-9DA3-221233B30AD5}">
      <dsp:nvSpPr>
        <dsp:cNvPr id="0" name=""/>
        <dsp:cNvSpPr/>
      </dsp:nvSpPr>
      <dsp:spPr>
        <a:xfrm>
          <a:off x="4421003" y="235895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6B3F37-0EA4-4D66-8724-119EDD0349FC}">
      <dsp:nvSpPr>
        <dsp:cNvPr id="0" name=""/>
        <dsp:cNvSpPr/>
      </dsp:nvSpPr>
      <dsp:spPr>
        <a:xfrm>
          <a:off x="5123796" y="235895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017348-2EE0-4ED5-AED4-2D789601BA3B}">
      <dsp:nvSpPr>
        <dsp:cNvPr id="0" name=""/>
        <dsp:cNvSpPr/>
      </dsp:nvSpPr>
      <dsp:spPr>
        <a:xfrm>
          <a:off x="907039" y="2540913"/>
          <a:ext cx="4980421" cy="452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b" anchorCtr="0">
          <a:noAutofit/>
        </a:bodyPr>
        <a:lstStyle/>
        <a:p>
          <a:pPr lvl="0" algn="l" defTabSz="933450">
            <a:lnSpc>
              <a:spcPct val="90000"/>
            </a:lnSpc>
            <a:spcBef>
              <a:spcPct val="0"/>
            </a:spcBef>
            <a:spcAft>
              <a:spcPct val="35000"/>
            </a:spcAft>
          </a:pPr>
          <a:r>
            <a:rPr lang="en-US" sz="2100" kern="1200" smtClean="0"/>
            <a:t>How does Kubernetes Work</a:t>
          </a:r>
          <a:endParaRPr lang="en-US" sz="2100" kern="1200" dirty="0"/>
        </a:p>
      </dsp:txBody>
      <dsp:txXfrm>
        <a:off x="907039" y="2540913"/>
        <a:ext cx="4980421" cy="452765"/>
      </dsp:txXfrm>
    </dsp:sp>
    <dsp:sp modelId="{0888239F-5126-4216-9CC9-8743E638C8F7}">
      <dsp:nvSpPr>
        <dsp:cNvPr id="0" name=""/>
        <dsp:cNvSpPr/>
      </dsp:nvSpPr>
      <dsp:spPr>
        <a:xfrm>
          <a:off x="907039" y="299367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8BC326-3695-4ABB-9629-22A1923C491A}">
      <dsp:nvSpPr>
        <dsp:cNvPr id="0" name=""/>
        <dsp:cNvSpPr/>
      </dsp:nvSpPr>
      <dsp:spPr>
        <a:xfrm>
          <a:off x="1609832" y="299367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F35181-4C52-45FB-849C-BA4FDF1099A4}">
      <dsp:nvSpPr>
        <dsp:cNvPr id="0" name=""/>
        <dsp:cNvSpPr/>
      </dsp:nvSpPr>
      <dsp:spPr>
        <a:xfrm>
          <a:off x="2312624" y="299367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D3A743-6268-4CF3-9E53-299B1306E8CA}">
      <dsp:nvSpPr>
        <dsp:cNvPr id="0" name=""/>
        <dsp:cNvSpPr/>
      </dsp:nvSpPr>
      <dsp:spPr>
        <a:xfrm>
          <a:off x="3015417" y="299367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6AD04D-CB04-441C-B877-DE59DA081B81}">
      <dsp:nvSpPr>
        <dsp:cNvPr id="0" name=""/>
        <dsp:cNvSpPr/>
      </dsp:nvSpPr>
      <dsp:spPr>
        <a:xfrm>
          <a:off x="3718210" y="299367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F39373-FD4C-4597-A0B6-9F79012B53C7}">
      <dsp:nvSpPr>
        <dsp:cNvPr id="0" name=""/>
        <dsp:cNvSpPr/>
      </dsp:nvSpPr>
      <dsp:spPr>
        <a:xfrm>
          <a:off x="4421003" y="299367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1B388D-C535-4E6F-BA1C-6398238B47B5}">
      <dsp:nvSpPr>
        <dsp:cNvPr id="0" name=""/>
        <dsp:cNvSpPr/>
      </dsp:nvSpPr>
      <dsp:spPr>
        <a:xfrm>
          <a:off x="5123796" y="2993679"/>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5F2B1F-0693-409D-9836-E80D3622A5FB}">
      <dsp:nvSpPr>
        <dsp:cNvPr id="0" name=""/>
        <dsp:cNvSpPr/>
      </dsp:nvSpPr>
      <dsp:spPr>
        <a:xfrm>
          <a:off x="907039" y="3175633"/>
          <a:ext cx="4980421" cy="452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b" anchorCtr="0">
          <a:noAutofit/>
        </a:bodyPr>
        <a:lstStyle/>
        <a:p>
          <a:pPr lvl="0" algn="l" defTabSz="933450">
            <a:lnSpc>
              <a:spcPct val="90000"/>
            </a:lnSpc>
            <a:spcBef>
              <a:spcPct val="0"/>
            </a:spcBef>
            <a:spcAft>
              <a:spcPct val="35000"/>
            </a:spcAft>
          </a:pPr>
          <a:r>
            <a:rPr lang="en-US" sz="2100" kern="1200" smtClean="0"/>
            <a:t>Deployment With  Kubernetes</a:t>
          </a:r>
          <a:endParaRPr lang="en-US" sz="2100" kern="1200" dirty="0"/>
        </a:p>
      </dsp:txBody>
      <dsp:txXfrm>
        <a:off x="907039" y="3175633"/>
        <a:ext cx="4980421" cy="452765"/>
      </dsp:txXfrm>
    </dsp:sp>
    <dsp:sp modelId="{9DC834B4-156E-4505-A343-E744E194705E}">
      <dsp:nvSpPr>
        <dsp:cNvPr id="0" name=""/>
        <dsp:cNvSpPr/>
      </dsp:nvSpPr>
      <dsp:spPr>
        <a:xfrm>
          <a:off x="907039" y="362839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979D82-5866-4870-8980-0867C8057FBB}">
      <dsp:nvSpPr>
        <dsp:cNvPr id="0" name=""/>
        <dsp:cNvSpPr/>
      </dsp:nvSpPr>
      <dsp:spPr>
        <a:xfrm>
          <a:off x="1609832" y="362839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64DBC0-70D6-48F5-9AB7-E7BADC144832}">
      <dsp:nvSpPr>
        <dsp:cNvPr id="0" name=""/>
        <dsp:cNvSpPr/>
      </dsp:nvSpPr>
      <dsp:spPr>
        <a:xfrm>
          <a:off x="2312624" y="362839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A9F453-3FEC-4055-9B8C-EA301949D0E3}">
      <dsp:nvSpPr>
        <dsp:cNvPr id="0" name=""/>
        <dsp:cNvSpPr/>
      </dsp:nvSpPr>
      <dsp:spPr>
        <a:xfrm>
          <a:off x="3015417" y="362839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644777-0B00-422F-AFAF-8C8DF3D022B1}">
      <dsp:nvSpPr>
        <dsp:cNvPr id="0" name=""/>
        <dsp:cNvSpPr/>
      </dsp:nvSpPr>
      <dsp:spPr>
        <a:xfrm>
          <a:off x="3718210" y="362839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F2DBF2-9640-458F-9EC1-30FDFB8E533C}">
      <dsp:nvSpPr>
        <dsp:cNvPr id="0" name=""/>
        <dsp:cNvSpPr/>
      </dsp:nvSpPr>
      <dsp:spPr>
        <a:xfrm>
          <a:off x="4421003" y="362839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F5C23B-3D3E-4DC5-AFF4-2AD98631964D}">
      <dsp:nvSpPr>
        <dsp:cNvPr id="0" name=""/>
        <dsp:cNvSpPr/>
      </dsp:nvSpPr>
      <dsp:spPr>
        <a:xfrm>
          <a:off x="5123796" y="362839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7304CE-ED8C-4BB5-A21A-E47E6913F993}">
      <dsp:nvSpPr>
        <dsp:cNvPr id="0" name=""/>
        <dsp:cNvSpPr/>
      </dsp:nvSpPr>
      <dsp:spPr>
        <a:xfrm>
          <a:off x="907039" y="3810353"/>
          <a:ext cx="4980421" cy="452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b" anchorCtr="0">
          <a:noAutofit/>
        </a:bodyPr>
        <a:lstStyle/>
        <a:p>
          <a:pPr lvl="0" algn="l" defTabSz="933450">
            <a:lnSpc>
              <a:spcPct val="90000"/>
            </a:lnSpc>
            <a:spcBef>
              <a:spcPct val="0"/>
            </a:spcBef>
            <a:spcAft>
              <a:spcPct val="35000"/>
            </a:spcAft>
          </a:pPr>
          <a:r>
            <a:rPr lang="en-US" sz="2100" kern="1200" dirty="0" smtClean="0"/>
            <a:t>Case Study For Kubernetes</a:t>
          </a:r>
          <a:endParaRPr lang="en-US" sz="2100" kern="1200" dirty="0"/>
        </a:p>
      </dsp:txBody>
      <dsp:txXfrm>
        <a:off x="907039" y="3810353"/>
        <a:ext cx="4980421" cy="452765"/>
      </dsp:txXfrm>
    </dsp:sp>
    <dsp:sp modelId="{AA8A0939-0ACC-45E4-93DF-FA2A126B2222}">
      <dsp:nvSpPr>
        <dsp:cNvPr id="0" name=""/>
        <dsp:cNvSpPr/>
      </dsp:nvSpPr>
      <dsp:spPr>
        <a:xfrm>
          <a:off x="907039" y="426311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641418-0660-402D-B7DE-2EBC622F8697}">
      <dsp:nvSpPr>
        <dsp:cNvPr id="0" name=""/>
        <dsp:cNvSpPr/>
      </dsp:nvSpPr>
      <dsp:spPr>
        <a:xfrm>
          <a:off x="1609832" y="426311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97BD87-CA26-4342-B328-A56163E7B118}">
      <dsp:nvSpPr>
        <dsp:cNvPr id="0" name=""/>
        <dsp:cNvSpPr/>
      </dsp:nvSpPr>
      <dsp:spPr>
        <a:xfrm>
          <a:off x="2312624" y="426311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ED1CB0-3A52-4461-92C6-B2BD960E00E5}">
      <dsp:nvSpPr>
        <dsp:cNvPr id="0" name=""/>
        <dsp:cNvSpPr/>
      </dsp:nvSpPr>
      <dsp:spPr>
        <a:xfrm>
          <a:off x="3015417" y="426311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EC1BB7-0AC2-44E4-B977-F43F7483516F}">
      <dsp:nvSpPr>
        <dsp:cNvPr id="0" name=""/>
        <dsp:cNvSpPr/>
      </dsp:nvSpPr>
      <dsp:spPr>
        <a:xfrm>
          <a:off x="3718210" y="426311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AC0D68-26CE-4D3A-B877-F10FF5EC9FDC}">
      <dsp:nvSpPr>
        <dsp:cNvPr id="0" name=""/>
        <dsp:cNvSpPr/>
      </dsp:nvSpPr>
      <dsp:spPr>
        <a:xfrm>
          <a:off x="4421003" y="426311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393AC6-4028-4660-8E43-DD7AFBEA56B2}">
      <dsp:nvSpPr>
        <dsp:cNvPr id="0" name=""/>
        <dsp:cNvSpPr/>
      </dsp:nvSpPr>
      <dsp:spPr>
        <a:xfrm>
          <a:off x="5123796" y="4263118"/>
          <a:ext cx="664056" cy="110676"/>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4B46D-BF0A-4D8A-9503-0B9051A9AC6D}">
      <dsp:nvSpPr>
        <dsp:cNvPr id="0" name=""/>
        <dsp:cNvSpPr/>
      </dsp:nvSpPr>
      <dsp:spPr>
        <a:xfrm>
          <a:off x="-5277915" y="-808377"/>
          <a:ext cx="6285226" cy="6285226"/>
        </a:xfrm>
        <a:prstGeom prst="blockArc">
          <a:avLst>
            <a:gd name="adj1" fmla="val 18900000"/>
            <a:gd name="adj2" fmla="val 2700000"/>
            <a:gd name="adj3" fmla="val 344"/>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D08872-4A6B-4762-ACD5-F81E5ECDD97C}">
      <dsp:nvSpPr>
        <dsp:cNvPr id="0" name=""/>
        <dsp:cNvSpPr/>
      </dsp:nvSpPr>
      <dsp:spPr>
        <a:xfrm>
          <a:off x="647983" y="466847"/>
          <a:ext cx="6313825" cy="93369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1120" tIns="48260" rIns="48260" bIns="48260" numCol="1" spcCol="1270" anchor="ctr" anchorCtr="0">
          <a:noAutofit/>
        </a:bodyPr>
        <a:lstStyle/>
        <a:p>
          <a:pPr lvl="0" algn="l" defTabSz="844550">
            <a:lnSpc>
              <a:spcPct val="90000"/>
            </a:lnSpc>
            <a:spcBef>
              <a:spcPct val="0"/>
            </a:spcBef>
            <a:spcAft>
              <a:spcPct val="35000"/>
            </a:spcAft>
          </a:pPr>
          <a:r>
            <a:rPr lang="en-IN" sz="1900" b="0" i="0" kern="1200" dirty="0" smtClean="0"/>
            <a:t>Container orchestration is the automation of all aspects of coordinating and managing containers.</a:t>
          </a:r>
          <a:endParaRPr lang="en-US" sz="1900" kern="1200" dirty="0"/>
        </a:p>
      </dsp:txBody>
      <dsp:txXfrm>
        <a:off x="647983" y="466847"/>
        <a:ext cx="6313825" cy="933694"/>
      </dsp:txXfrm>
    </dsp:sp>
    <dsp:sp modelId="{89B6AD4E-9439-4CEF-AA58-9BC1DA0F687F}">
      <dsp:nvSpPr>
        <dsp:cNvPr id="0" name=""/>
        <dsp:cNvSpPr/>
      </dsp:nvSpPr>
      <dsp:spPr>
        <a:xfrm>
          <a:off x="64424" y="350135"/>
          <a:ext cx="1167118" cy="11671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ED289C-0921-4F7E-9E41-1BF110A7D048}">
      <dsp:nvSpPr>
        <dsp:cNvPr id="0" name=""/>
        <dsp:cNvSpPr/>
      </dsp:nvSpPr>
      <dsp:spPr>
        <a:xfrm>
          <a:off x="987381" y="1867388"/>
          <a:ext cx="5974427" cy="93369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1120" tIns="48260" rIns="48260" bIns="48260" numCol="1" spcCol="1270" anchor="ctr" anchorCtr="0">
          <a:noAutofit/>
        </a:bodyPr>
        <a:lstStyle/>
        <a:p>
          <a:pPr lvl="0" algn="l" defTabSz="844550">
            <a:lnSpc>
              <a:spcPct val="90000"/>
            </a:lnSpc>
            <a:spcBef>
              <a:spcPct val="0"/>
            </a:spcBef>
            <a:spcAft>
              <a:spcPct val="35000"/>
            </a:spcAft>
          </a:pPr>
          <a:r>
            <a:rPr lang="en-IN" sz="1900" b="0" i="0" kern="1200" dirty="0" smtClean="0"/>
            <a:t>Container orchestration is focused on managing the life cycle of container.</a:t>
          </a:r>
          <a:endParaRPr lang="en-US" sz="1900" kern="1200" dirty="0"/>
        </a:p>
      </dsp:txBody>
      <dsp:txXfrm>
        <a:off x="987381" y="1867388"/>
        <a:ext cx="5974427" cy="933694"/>
      </dsp:txXfrm>
    </dsp:sp>
    <dsp:sp modelId="{07178575-16D6-4248-8CFF-81A2457275D8}">
      <dsp:nvSpPr>
        <dsp:cNvPr id="0" name=""/>
        <dsp:cNvSpPr/>
      </dsp:nvSpPr>
      <dsp:spPr>
        <a:xfrm>
          <a:off x="403822" y="1750677"/>
          <a:ext cx="1167118" cy="11671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7E222AC-5696-49E6-AF12-E75ADD027BFC}">
      <dsp:nvSpPr>
        <dsp:cNvPr id="0" name=""/>
        <dsp:cNvSpPr/>
      </dsp:nvSpPr>
      <dsp:spPr>
        <a:xfrm>
          <a:off x="647983" y="3267930"/>
          <a:ext cx="6313825" cy="93369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1120" tIns="48260" rIns="48260" bIns="48260" numCol="1" spcCol="1270" anchor="ctr" anchorCtr="0">
          <a:noAutofit/>
        </a:bodyPr>
        <a:lstStyle/>
        <a:p>
          <a:pPr lvl="0" algn="l" defTabSz="844550">
            <a:lnSpc>
              <a:spcPct val="90000"/>
            </a:lnSpc>
            <a:spcBef>
              <a:spcPct val="0"/>
            </a:spcBef>
            <a:spcAft>
              <a:spcPct val="35000"/>
            </a:spcAft>
          </a:pPr>
          <a:r>
            <a:rPr lang="en-IN" sz="1900" b="0" i="0" kern="1200" dirty="0" smtClean="0"/>
            <a:t>Container orchestration manage  the dynamic environments.</a:t>
          </a:r>
          <a:endParaRPr lang="en-US" sz="1900" kern="1200" dirty="0"/>
        </a:p>
      </dsp:txBody>
      <dsp:txXfrm>
        <a:off x="647983" y="3267930"/>
        <a:ext cx="6313825" cy="933694"/>
      </dsp:txXfrm>
    </dsp:sp>
    <dsp:sp modelId="{0045DB2A-1667-4847-B832-09E3BCA62654}">
      <dsp:nvSpPr>
        <dsp:cNvPr id="0" name=""/>
        <dsp:cNvSpPr/>
      </dsp:nvSpPr>
      <dsp:spPr>
        <a:xfrm>
          <a:off x="64424" y="3151218"/>
          <a:ext cx="1167118" cy="1167118"/>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774D73-5A3E-40FD-8E5E-E8468907EA07}">
      <dsp:nvSpPr>
        <dsp:cNvPr id="0" name=""/>
        <dsp:cNvSpPr/>
      </dsp:nvSpPr>
      <dsp:spPr>
        <a:xfrm>
          <a:off x="-5588693" y="-855576"/>
          <a:ext cx="6654041" cy="6654041"/>
        </a:xfrm>
        <a:prstGeom prst="blockArc">
          <a:avLst>
            <a:gd name="adj1" fmla="val 18900000"/>
            <a:gd name="adj2" fmla="val 2700000"/>
            <a:gd name="adj3" fmla="val 32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D957F7-D15B-4114-9D55-B987FB3DEE24}">
      <dsp:nvSpPr>
        <dsp:cNvPr id="0" name=""/>
        <dsp:cNvSpPr/>
      </dsp:nvSpPr>
      <dsp:spPr>
        <a:xfrm>
          <a:off x="397046" y="260292"/>
          <a:ext cx="5629885" cy="5203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3057" tIns="33020" rIns="33020" bIns="33020" numCol="1" spcCol="1270" anchor="ctr" anchorCtr="0">
          <a:noAutofit/>
        </a:bodyPr>
        <a:lstStyle/>
        <a:p>
          <a:pPr lvl="0" algn="l" defTabSz="577850">
            <a:lnSpc>
              <a:spcPct val="90000"/>
            </a:lnSpc>
            <a:spcBef>
              <a:spcPct val="0"/>
            </a:spcBef>
            <a:spcAft>
              <a:spcPct val="35000"/>
            </a:spcAft>
          </a:pPr>
          <a:r>
            <a:rPr lang="en-US" sz="1300" kern="1200" dirty="0" smtClean="0"/>
            <a:t>Kubernetes is Open source container management tool.</a:t>
          </a:r>
          <a:endParaRPr lang="en-US" sz="1300" kern="1200" dirty="0"/>
        </a:p>
      </dsp:txBody>
      <dsp:txXfrm>
        <a:off x="397046" y="260292"/>
        <a:ext cx="5629885" cy="520387"/>
      </dsp:txXfrm>
    </dsp:sp>
    <dsp:sp modelId="{FFF99060-8602-4D41-8030-578309EF1D83}">
      <dsp:nvSpPr>
        <dsp:cNvPr id="0" name=""/>
        <dsp:cNvSpPr/>
      </dsp:nvSpPr>
      <dsp:spPr>
        <a:xfrm>
          <a:off x="71804" y="195244"/>
          <a:ext cx="650484" cy="6504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0A96D30-9E21-4BF7-AC39-36652F32B2B3}">
      <dsp:nvSpPr>
        <dsp:cNvPr id="0" name=""/>
        <dsp:cNvSpPr/>
      </dsp:nvSpPr>
      <dsp:spPr>
        <a:xfrm>
          <a:off x="825100" y="1040774"/>
          <a:ext cx="5201831" cy="5203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3057" tIns="33020" rIns="33020" bIns="33020" numCol="1" spcCol="1270" anchor="ctr" anchorCtr="0">
          <a:noAutofit/>
        </a:bodyPr>
        <a:lstStyle/>
        <a:p>
          <a:pPr lvl="0" algn="l" defTabSz="577850">
            <a:lnSpc>
              <a:spcPct val="90000"/>
            </a:lnSpc>
            <a:spcBef>
              <a:spcPct val="0"/>
            </a:spcBef>
            <a:spcAft>
              <a:spcPct val="35000"/>
            </a:spcAft>
          </a:pPr>
          <a:r>
            <a:rPr lang="en-US" sz="1300" kern="1200" dirty="0" smtClean="0"/>
            <a:t>It automates container deployment.</a:t>
          </a:r>
          <a:endParaRPr lang="en-US" sz="1300" kern="1200" dirty="0"/>
        </a:p>
      </dsp:txBody>
      <dsp:txXfrm>
        <a:off x="825100" y="1040774"/>
        <a:ext cx="5201831" cy="520387"/>
      </dsp:txXfrm>
    </dsp:sp>
    <dsp:sp modelId="{C58D4175-C788-47A4-B105-C121729FDC9F}">
      <dsp:nvSpPr>
        <dsp:cNvPr id="0" name=""/>
        <dsp:cNvSpPr/>
      </dsp:nvSpPr>
      <dsp:spPr>
        <a:xfrm>
          <a:off x="499858" y="975726"/>
          <a:ext cx="650484" cy="6504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7EEFA0-400B-43C1-8063-BB383751183C}">
      <dsp:nvSpPr>
        <dsp:cNvPr id="0" name=""/>
        <dsp:cNvSpPr/>
      </dsp:nvSpPr>
      <dsp:spPr>
        <a:xfrm>
          <a:off x="1020839" y="1821256"/>
          <a:ext cx="5006093" cy="5203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3057" tIns="33020" rIns="33020" bIns="33020" numCol="1" spcCol="1270" anchor="ctr" anchorCtr="0">
          <a:noAutofit/>
        </a:bodyPr>
        <a:lstStyle/>
        <a:p>
          <a:pPr lvl="0" algn="l" defTabSz="577850">
            <a:lnSpc>
              <a:spcPct val="90000"/>
            </a:lnSpc>
            <a:spcBef>
              <a:spcPct val="0"/>
            </a:spcBef>
            <a:spcAft>
              <a:spcPct val="35000"/>
            </a:spcAft>
          </a:pPr>
          <a:r>
            <a:rPr lang="en-US" sz="1300" kern="1200" dirty="0" smtClean="0"/>
            <a:t>It automates container scaling and descaling.</a:t>
          </a:r>
          <a:endParaRPr lang="en-US" sz="1300" kern="1200" dirty="0"/>
        </a:p>
      </dsp:txBody>
      <dsp:txXfrm>
        <a:off x="1020839" y="1821256"/>
        <a:ext cx="5006093" cy="520387"/>
      </dsp:txXfrm>
    </dsp:sp>
    <dsp:sp modelId="{2E3F003E-C35E-43E0-A440-9D71113D222C}">
      <dsp:nvSpPr>
        <dsp:cNvPr id="0" name=""/>
        <dsp:cNvSpPr/>
      </dsp:nvSpPr>
      <dsp:spPr>
        <a:xfrm>
          <a:off x="695597" y="1756208"/>
          <a:ext cx="650484" cy="6504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688ACBD-036D-4813-8E4E-FA18CC791E9C}">
      <dsp:nvSpPr>
        <dsp:cNvPr id="0" name=""/>
        <dsp:cNvSpPr/>
      </dsp:nvSpPr>
      <dsp:spPr>
        <a:xfrm>
          <a:off x="1020839" y="2601244"/>
          <a:ext cx="5006093" cy="5203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3057" tIns="33020" rIns="33020" bIns="33020" numCol="1" spcCol="1270" anchor="ctr" anchorCtr="0">
          <a:noAutofit/>
        </a:bodyPr>
        <a:lstStyle/>
        <a:p>
          <a:pPr lvl="0" algn="l" defTabSz="577850">
            <a:lnSpc>
              <a:spcPct val="90000"/>
            </a:lnSpc>
            <a:spcBef>
              <a:spcPct val="0"/>
            </a:spcBef>
            <a:spcAft>
              <a:spcPct val="35000"/>
            </a:spcAft>
          </a:pPr>
          <a:r>
            <a:rPr lang="en-US" sz="1300" kern="1200" dirty="0" smtClean="0"/>
            <a:t>It automates container load balancing.</a:t>
          </a:r>
          <a:endParaRPr lang="en-US" sz="1300" kern="1200" dirty="0"/>
        </a:p>
      </dsp:txBody>
      <dsp:txXfrm>
        <a:off x="1020839" y="2601244"/>
        <a:ext cx="5006093" cy="520387"/>
      </dsp:txXfrm>
    </dsp:sp>
    <dsp:sp modelId="{C2F0E1E8-8ED1-4A6F-9AD8-94933C78EA95}">
      <dsp:nvSpPr>
        <dsp:cNvPr id="0" name=""/>
        <dsp:cNvSpPr/>
      </dsp:nvSpPr>
      <dsp:spPr>
        <a:xfrm>
          <a:off x="695597" y="2536195"/>
          <a:ext cx="650484" cy="6504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2D122A-607D-41E1-9189-F12984404813}">
      <dsp:nvSpPr>
        <dsp:cNvPr id="0" name=""/>
        <dsp:cNvSpPr/>
      </dsp:nvSpPr>
      <dsp:spPr>
        <a:xfrm>
          <a:off x="825100" y="3381726"/>
          <a:ext cx="5201831" cy="5203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3057" tIns="33020" rIns="33020" bIns="33020" numCol="1" spcCol="1270" anchor="ctr" anchorCtr="0">
          <a:noAutofit/>
        </a:bodyPr>
        <a:lstStyle/>
        <a:p>
          <a:pPr lvl="0" algn="l" defTabSz="577850">
            <a:lnSpc>
              <a:spcPct val="90000"/>
            </a:lnSpc>
            <a:spcBef>
              <a:spcPct val="0"/>
            </a:spcBef>
            <a:spcAft>
              <a:spcPct val="35000"/>
            </a:spcAft>
          </a:pPr>
          <a:r>
            <a:rPr lang="en-US" sz="1300" kern="1200" dirty="0" smtClean="0"/>
            <a:t>It work with all public, private and hybrid cloud vendor.</a:t>
          </a:r>
          <a:endParaRPr lang="en-US" sz="1300" kern="1200" dirty="0"/>
        </a:p>
      </dsp:txBody>
      <dsp:txXfrm>
        <a:off x="825100" y="3381726"/>
        <a:ext cx="5201831" cy="520387"/>
      </dsp:txXfrm>
    </dsp:sp>
    <dsp:sp modelId="{1B934768-AF19-4569-8FBA-ABD9BAA9BB9B}">
      <dsp:nvSpPr>
        <dsp:cNvPr id="0" name=""/>
        <dsp:cNvSpPr/>
      </dsp:nvSpPr>
      <dsp:spPr>
        <a:xfrm>
          <a:off x="499858" y="3316677"/>
          <a:ext cx="650484" cy="6504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6DD004A-CD8C-45AD-85F3-58A5F9A6AFBD}">
      <dsp:nvSpPr>
        <dsp:cNvPr id="0" name=""/>
        <dsp:cNvSpPr/>
      </dsp:nvSpPr>
      <dsp:spPr>
        <a:xfrm>
          <a:off x="397046" y="4162208"/>
          <a:ext cx="5629885" cy="5203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3057" tIns="33020" rIns="33020" bIns="33020" numCol="1" spcCol="1270" anchor="ctr" anchorCtr="0">
          <a:noAutofit/>
        </a:bodyPr>
        <a:lstStyle/>
        <a:p>
          <a:pPr lvl="0" algn="l" defTabSz="577850">
            <a:lnSpc>
              <a:spcPct val="90000"/>
            </a:lnSpc>
            <a:spcBef>
              <a:spcPct val="0"/>
            </a:spcBef>
            <a:spcAft>
              <a:spcPct val="35000"/>
            </a:spcAft>
          </a:pPr>
          <a:r>
            <a:rPr lang="en-US" sz="1300" kern="1200" dirty="0" smtClean="0"/>
            <a:t>Kubernetes can group no of containers into  one logical unit  for  managing and deploying them easily in one server node.</a:t>
          </a:r>
          <a:endParaRPr lang="en-US" sz="1300" kern="1200" dirty="0"/>
        </a:p>
      </dsp:txBody>
      <dsp:txXfrm>
        <a:off x="397046" y="4162208"/>
        <a:ext cx="5629885" cy="520387"/>
      </dsp:txXfrm>
    </dsp:sp>
    <dsp:sp modelId="{CAA8CBB2-3405-4003-B192-CCC5E2F0FC10}">
      <dsp:nvSpPr>
        <dsp:cNvPr id="0" name=""/>
        <dsp:cNvSpPr/>
      </dsp:nvSpPr>
      <dsp:spPr>
        <a:xfrm>
          <a:off x="71804" y="4097159"/>
          <a:ext cx="650484" cy="6504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92898B-B926-45BB-A821-59AC3C1C8417}">
      <dsp:nvSpPr>
        <dsp:cNvPr id="0" name=""/>
        <dsp:cNvSpPr/>
      </dsp:nvSpPr>
      <dsp:spPr>
        <a:xfrm>
          <a:off x="0" y="888742"/>
          <a:ext cx="7302500"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D60971-4566-47E3-875A-1BAE24F634DC}">
      <dsp:nvSpPr>
        <dsp:cNvPr id="0" name=""/>
        <dsp:cNvSpPr/>
      </dsp:nvSpPr>
      <dsp:spPr>
        <a:xfrm>
          <a:off x="365125" y="593542"/>
          <a:ext cx="5111750"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3212" tIns="0" rIns="193212" bIns="0" numCol="1" spcCol="1270" anchor="ctr" anchorCtr="0">
          <a:noAutofit/>
        </a:bodyPr>
        <a:lstStyle/>
        <a:p>
          <a:pPr lvl="0" algn="l" defTabSz="889000">
            <a:lnSpc>
              <a:spcPct val="90000"/>
            </a:lnSpc>
            <a:spcBef>
              <a:spcPct val="0"/>
            </a:spcBef>
            <a:spcAft>
              <a:spcPct val="35000"/>
            </a:spcAft>
          </a:pPr>
          <a:r>
            <a:rPr lang="en-US" sz="2000" kern="1200" dirty="0" smtClean="0"/>
            <a:t>Automatic Binpacking</a:t>
          </a:r>
          <a:endParaRPr lang="en-US" sz="2000" kern="1200" dirty="0"/>
        </a:p>
      </dsp:txBody>
      <dsp:txXfrm>
        <a:off x="393946" y="622363"/>
        <a:ext cx="5054108" cy="532758"/>
      </dsp:txXfrm>
    </dsp:sp>
    <dsp:sp modelId="{E4BEB148-4EB4-49F6-9C7B-C9C2D52EF2A0}">
      <dsp:nvSpPr>
        <dsp:cNvPr id="0" name=""/>
        <dsp:cNvSpPr/>
      </dsp:nvSpPr>
      <dsp:spPr>
        <a:xfrm>
          <a:off x="0" y="1795942"/>
          <a:ext cx="7302500"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D415EB-52ED-46FC-A3C7-3569275633ED}">
      <dsp:nvSpPr>
        <dsp:cNvPr id="0" name=""/>
        <dsp:cNvSpPr/>
      </dsp:nvSpPr>
      <dsp:spPr>
        <a:xfrm>
          <a:off x="365125" y="1500742"/>
          <a:ext cx="5111750"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3212" tIns="0" rIns="193212" bIns="0" numCol="1" spcCol="1270" anchor="ctr" anchorCtr="0">
          <a:noAutofit/>
        </a:bodyPr>
        <a:lstStyle/>
        <a:p>
          <a:pPr lvl="0" algn="l" defTabSz="889000">
            <a:lnSpc>
              <a:spcPct val="90000"/>
            </a:lnSpc>
            <a:spcBef>
              <a:spcPct val="0"/>
            </a:spcBef>
            <a:spcAft>
              <a:spcPct val="35000"/>
            </a:spcAft>
          </a:pPr>
          <a:r>
            <a:rPr lang="en-US" sz="2000" kern="1200" dirty="0" smtClean="0"/>
            <a:t>Service Discovery &amp; Load Balancing</a:t>
          </a:r>
          <a:endParaRPr lang="en-US" sz="2000" kern="1200" dirty="0"/>
        </a:p>
      </dsp:txBody>
      <dsp:txXfrm>
        <a:off x="393946" y="1529563"/>
        <a:ext cx="5054108" cy="532758"/>
      </dsp:txXfrm>
    </dsp:sp>
    <dsp:sp modelId="{DC960DA1-98CB-4408-AFE9-CADC838B58DE}">
      <dsp:nvSpPr>
        <dsp:cNvPr id="0" name=""/>
        <dsp:cNvSpPr/>
      </dsp:nvSpPr>
      <dsp:spPr>
        <a:xfrm>
          <a:off x="0" y="2703142"/>
          <a:ext cx="7302500"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B0E507-61A2-4215-B191-56A1076EADBB}">
      <dsp:nvSpPr>
        <dsp:cNvPr id="0" name=""/>
        <dsp:cNvSpPr/>
      </dsp:nvSpPr>
      <dsp:spPr>
        <a:xfrm>
          <a:off x="365125" y="2407942"/>
          <a:ext cx="5111750"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3212" tIns="0" rIns="193212" bIns="0" numCol="1" spcCol="1270" anchor="ctr" anchorCtr="0">
          <a:noAutofit/>
        </a:bodyPr>
        <a:lstStyle/>
        <a:p>
          <a:pPr lvl="0" algn="l" defTabSz="889000">
            <a:lnSpc>
              <a:spcPct val="90000"/>
            </a:lnSpc>
            <a:spcBef>
              <a:spcPct val="0"/>
            </a:spcBef>
            <a:spcAft>
              <a:spcPct val="35000"/>
            </a:spcAft>
          </a:pPr>
          <a:r>
            <a:rPr lang="en-US" sz="2000" kern="1200" dirty="0" smtClean="0"/>
            <a:t>Self Healing</a:t>
          </a:r>
          <a:endParaRPr lang="en-US" sz="2000" kern="1200" dirty="0"/>
        </a:p>
      </dsp:txBody>
      <dsp:txXfrm>
        <a:off x="393946" y="2436763"/>
        <a:ext cx="5054108" cy="532758"/>
      </dsp:txXfrm>
    </dsp:sp>
    <dsp:sp modelId="{D852C188-F694-46A0-8ACE-E243D636BDE6}">
      <dsp:nvSpPr>
        <dsp:cNvPr id="0" name=""/>
        <dsp:cNvSpPr/>
      </dsp:nvSpPr>
      <dsp:spPr>
        <a:xfrm>
          <a:off x="0" y="3610342"/>
          <a:ext cx="7302500" cy="50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56ED58B-4A63-4BF8-B283-1611FEC2B10F}">
      <dsp:nvSpPr>
        <dsp:cNvPr id="0" name=""/>
        <dsp:cNvSpPr/>
      </dsp:nvSpPr>
      <dsp:spPr>
        <a:xfrm>
          <a:off x="355098" y="3315142"/>
          <a:ext cx="5111750" cy="590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3212" tIns="0" rIns="193212" bIns="0" numCol="1" spcCol="1270" anchor="ctr" anchorCtr="0">
          <a:noAutofit/>
        </a:bodyPr>
        <a:lstStyle/>
        <a:p>
          <a:pPr lvl="0" algn="l" defTabSz="889000">
            <a:lnSpc>
              <a:spcPct val="90000"/>
            </a:lnSpc>
            <a:spcBef>
              <a:spcPct val="0"/>
            </a:spcBef>
            <a:spcAft>
              <a:spcPct val="35000"/>
            </a:spcAft>
          </a:pPr>
          <a:r>
            <a:rPr lang="en-US" sz="2000" kern="1200" dirty="0" smtClean="0"/>
            <a:t>Secrete and Configuration</a:t>
          </a:r>
          <a:endParaRPr lang="en-US" sz="2000" kern="1200" dirty="0"/>
        </a:p>
      </dsp:txBody>
      <dsp:txXfrm>
        <a:off x="383919" y="3343963"/>
        <a:ext cx="5054108" cy="53275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92898B-B926-45BB-A821-59AC3C1C8417}">
      <dsp:nvSpPr>
        <dsp:cNvPr id="0" name=""/>
        <dsp:cNvSpPr/>
      </dsp:nvSpPr>
      <dsp:spPr>
        <a:xfrm>
          <a:off x="0" y="490219"/>
          <a:ext cx="8324000"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D60971-4566-47E3-875A-1BAE24F634DC}">
      <dsp:nvSpPr>
        <dsp:cNvPr id="0" name=""/>
        <dsp:cNvSpPr/>
      </dsp:nvSpPr>
      <dsp:spPr>
        <a:xfrm>
          <a:off x="437713" y="143204"/>
          <a:ext cx="5048164"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239" tIns="0" rIns="220239" bIns="0" numCol="1" spcCol="1270" anchor="ctr" anchorCtr="0">
          <a:noAutofit/>
        </a:bodyPr>
        <a:lstStyle/>
        <a:p>
          <a:pPr lvl="0" algn="l" defTabSz="1111250">
            <a:lnSpc>
              <a:spcPct val="90000"/>
            </a:lnSpc>
            <a:spcBef>
              <a:spcPct val="0"/>
            </a:spcBef>
            <a:spcAft>
              <a:spcPct val="35000"/>
            </a:spcAft>
          </a:pPr>
          <a:r>
            <a:rPr lang="en-US" sz="2500" kern="1200" dirty="0" smtClean="0"/>
            <a:t>Storage orchestration</a:t>
          </a:r>
          <a:endParaRPr lang="en-US" sz="2500" kern="1200" dirty="0"/>
        </a:p>
      </dsp:txBody>
      <dsp:txXfrm>
        <a:off x="473739" y="179230"/>
        <a:ext cx="4976112" cy="665948"/>
      </dsp:txXfrm>
    </dsp:sp>
    <dsp:sp modelId="{E4BEB148-4EB4-49F6-9C7B-C9C2D52EF2A0}">
      <dsp:nvSpPr>
        <dsp:cNvPr id="0" name=""/>
        <dsp:cNvSpPr/>
      </dsp:nvSpPr>
      <dsp:spPr>
        <a:xfrm>
          <a:off x="0" y="1624219"/>
          <a:ext cx="8324000"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D415EB-52ED-46FC-A3C7-3569275633ED}">
      <dsp:nvSpPr>
        <dsp:cNvPr id="0" name=""/>
        <dsp:cNvSpPr/>
      </dsp:nvSpPr>
      <dsp:spPr>
        <a:xfrm>
          <a:off x="416200" y="1255219"/>
          <a:ext cx="5826800"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239" tIns="0" rIns="220239" bIns="0" numCol="1" spcCol="1270" anchor="ctr" anchorCtr="0">
          <a:noAutofit/>
        </a:bodyPr>
        <a:lstStyle/>
        <a:p>
          <a:pPr lvl="0" algn="l" defTabSz="1111250">
            <a:lnSpc>
              <a:spcPct val="90000"/>
            </a:lnSpc>
            <a:spcBef>
              <a:spcPct val="0"/>
            </a:spcBef>
            <a:spcAft>
              <a:spcPct val="35000"/>
            </a:spcAft>
          </a:pPr>
          <a:r>
            <a:rPr lang="en-US" sz="2500" kern="1200" dirty="0" smtClean="0"/>
            <a:t>Horizontal Scaling</a:t>
          </a:r>
          <a:endParaRPr lang="en-US" sz="2500" kern="1200" dirty="0"/>
        </a:p>
      </dsp:txBody>
      <dsp:txXfrm>
        <a:off x="452226" y="1291245"/>
        <a:ext cx="5754748" cy="665948"/>
      </dsp:txXfrm>
    </dsp:sp>
    <dsp:sp modelId="{EC5EB947-4FC7-416E-ABF6-3D141077F95B}">
      <dsp:nvSpPr>
        <dsp:cNvPr id="0" name=""/>
        <dsp:cNvSpPr/>
      </dsp:nvSpPr>
      <dsp:spPr>
        <a:xfrm>
          <a:off x="0" y="2758219"/>
          <a:ext cx="8324000"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BF5ED3E-095E-4CFE-BA95-0A0410930347}">
      <dsp:nvSpPr>
        <dsp:cNvPr id="0" name=""/>
        <dsp:cNvSpPr/>
      </dsp:nvSpPr>
      <dsp:spPr>
        <a:xfrm>
          <a:off x="491494" y="2367241"/>
          <a:ext cx="5826800"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239" tIns="0" rIns="220239" bIns="0" numCol="1" spcCol="1270" anchor="ctr" anchorCtr="0">
          <a:noAutofit/>
        </a:bodyPr>
        <a:lstStyle/>
        <a:p>
          <a:pPr lvl="0" algn="l" defTabSz="1111250">
            <a:lnSpc>
              <a:spcPct val="90000"/>
            </a:lnSpc>
            <a:spcBef>
              <a:spcPct val="0"/>
            </a:spcBef>
            <a:spcAft>
              <a:spcPct val="35000"/>
            </a:spcAft>
          </a:pPr>
          <a:r>
            <a:rPr lang="en-US" sz="2500" kern="1200" dirty="0" smtClean="0"/>
            <a:t>Batch Execution</a:t>
          </a:r>
          <a:endParaRPr lang="en-US" sz="2500" kern="1200" dirty="0"/>
        </a:p>
      </dsp:txBody>
      <dsp:txXfrm>
        <a:off x="527520" y="2403267"/>
        <a:ext cx="5754748" cy="665948"/>
      </dsp:txXfrm>
    </dsp:sp>
    <dsp:sp modelId="{DC960DA1-98CB-4408-AFE9-CADC838B58DE}">
      <dsp:nvSpPr>
        <dsp:cNvPr id="0" name=""/>
        <dsp:cNvSpPr/>
      </dsp:nvSpPr>
      <dsp:spPr>
        <a:xfrm>
          <a:off x="0" y="3892219"/>
          <a:ext cx="8324000"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B0E507-61A2-4215-B191-56A1076EADBB}">
      <dsp:nvSpPr>
        <dsp:cNvPr id="0" name=""/>
        <dsp:cNvSpPr/>
      </dsp:nvSpPr>
      <dsp:spPr>
        <a:xfrm>
          <a:off x="416200" y="3523219"/>
          <a:ext cx="5826800"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239" tIns="0" rIns="220239" bIns="0" numCol="1" spcCol="1270" anchor="ctr" anchorCtr="0">
          <a:noAutofit/>
        </a:bodyPr>
        <a:lstStyle/>
        <a:p>
          <a:pPr lvl="0" algn="l" defTabSz="1111250">
            <a:lnSpc>
              <a:spcPct val="90000"/>
            </a:lnSpc>
            <a:spcBef>
              <a:spcPct val="0"/>
            </a:spcBef>
            <a:spcAft>
              <a:spcPct val="35000"/>
            </a:spcAft>
          </a:pPr>
          <a:r>
            <a:rPr lang="en-US" sz="2500" kern="1200" dirty="0" smtClean="0"/>
            <a:t>Automatic Rollback and Rollouts</a:t>
          </a:r>
          <a:endParaRPr lang="en-US" sz="2500" kern="1200" dirty="0"/>
        </a:p>
      </dsp:txBody>
      <dsp:txXfrm>
        <a:off x="452226" y="3559245"/>
        <a:ext cx="5754748" cy="66594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D9A7DA-A470-4812-BF66-FFDD07FDD75B}">
      <dsp:nvSpPr>
        <dsp:cNvPr id="0" name=""/>
        <dsp:cNvSpPr/>
      </dsp:nvSpPr>
      <dsp:spPr>
        <a:xfrm>
          <a:off x="570298" y="2261"/>
          <a:ext cx="2165543" cy="14920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937FA4-4DCB-423A-B414-FDAE4F3AECC2}">
      <dsp:nvSpPr>
        <dsp:cNvPr id="0" name=""/>
        <dsp:cNvSpPr/>
      </dsp:nvSpPr>
      <dsp:spPr>
        <a:xfrm>
          <a:off x="570298" y="1494321"/>
          <a:ext cx="2165543" cy="8034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Robust and Reliable</a:t>
          </a:r>
          <a:endParaRPr lang="en-US" sz="1600" kern="1200" dirty="0"/>
        </a:p>
      </dsp:txBody>
      <dsp:txXfrm>
        <a:off x="570298" y="1494321"/>
        <a:ext cx="2165543" cy="803416"/>
      </dsp:txXfrm>
    </dsp:sp>
    <dsp:sp modelId="{1817F9C6-700C-42AD-89E7-D1FE843E0B50}">
      <dsp:nvSpPr>
        <dsp:cNvPr id="0" name=""/>
        <dsp:cNvSpPr/>
      </dsp:nvSpPr>
      <dsp:spPr>
        <a:xfrm>
          <a:off x="2952487" y="2261"/>
          <a:ext cx="2165543" cy="14920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BA4B9E-7B74-4E67-AE2E-83635B29A8FC}">
      <dsp:nvSpPr>
        <dsp:cNvPr id="0" name=""/>
        <dsp:cNvSpPr/>
      </dsp:nvSpPr>
      <dsp:spPr>
        <a:xfrm>
          <a:off x="2952487" y="1494321"/>
          <a:ext cx="2165543" cy="8034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Best solution for scaling up the container.</a:t>
          </a:r>
          <a:endParaRPr lang="en-US" sz="1600" kern="1200" dirty="0"/>
        </a:p>
      </dsp:txBody>
      <dsp:txXfrm>
        <a:off x="2952487" y="1494321"/>
        <a:ext cx="2165543" cy="803416"/>
      </dsp:txXfrm>
    </dsp:sp>
    <dsp:sp modelId="{F298E3DC-7DF1-4F2B-B1E2-181404F3DA04}">
      <dsp:nvSpPr>
        <dsp:cNvPr id="0" name=""/>
        <dsp:cNvSpPr/>
      </dsp:nvSpPr>
      <dsp:spPr>
        <a:xfrm>
          <a:off x="570298" y="2514292"/>
          <a:ext cx="2165543" cy="14920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F64602-BE3F-4D18-8071-C5FC96B413CB}">
      <dsp:nvSpPr>
        <dsp:cNvPr id="0" name=""/>
        <dsp:cNvSpPr/>
      </dsp:nvSpPr>
      <dsp:spPr>
        <a:xfrm>
          <a:off x="570298" y="4006351"/>
          <a:ext cx="2165543" cy="8034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Container orchestration Platform</a:t>
          </a:r>
          <a:endParaRPr lang="en-US" sz="1600" kern="1200" dirty="0"/>
        </a:p>
      </dsp:txBody>
      <dsp:txXfrm>
        <a:off x="570298" y="4006351"/>
        <a:ext cx="2165543" cy="803416"/>
      </dsp:txXfrm>
    </dsp:sp>
    <dsp:sp modelId="{52DA3855-6139-420E-B90F-642BC175BC13}">
      <dsp:nvSpPr>
        <dsp:cNvPr id="0" name=""/>
        <dsp:cNvSpPr/>
      </dsp:nvSpPr>
      <dsp:spPr>
        <a:xfrm>
          <a:off x="2952487" y="2514292"/>
          <a:ext cx="2165543" cy="14920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9F2B15-C30B-477F-B385-58BB929FBF09}">
      <dsp:nvSpPr>
        <dsp:cNvPr id="0" name=""/>
        <dsp:cNvSpPr/>
      </dsp:nvSpPr>
      <dsp:spPr>
        <a:xfrm>
          <a:off x="2952487" y="4006351"/>
          <a:ext cx="2165543" cy="8034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lvl="0" algn="ctr" defTabSz="711200">
            <a:lnSpc>
              <a:spcPct val="90000"/>
            </a:lnSpc>
            <a:spcBef>
              <a:spcPct val="0"/>
            </a:spcBef>
            <a:spcAft>
              <a:spcPct val="35000"/>
            </a:spcAft>
          </a:pPr>
          <a:r>
            <a:rPr lang="en-US" sz="1600" kern="1200" dirty="0" smtClean="0"/>
            <a:t>Backed By Huge Community</a:t>
          </a:r>
          <a:endParaRPr lang="en-US" sz="1600" kern="1200" dirty="0"/>
        </a:p>
      </dsp:txBody>
      <dsp:txXfrm>
        <a:off x="2952487" y="4006351"/>
        <a:ext cx="2165543" cy="803416"/>
      </dsp:txXfrm>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7/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dirty="0" smtClean="0"/>
              <a:t>Page XX-#</a:t>
            </a: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361954"/>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68510" y="551796"/>
            <a:ext cx="0" cy="8001000"/>
          </a:xfrm>
          <a:prstGeom prst="line">
            <a:avLst/>
          </a:prstGeom>
          <a:noFill/>
          <a:ln w="9525">
            <a:solidFill>
              <a:schemeClr val="tx1"/>
            </a:solidFill>
            <a:round/>
            <a:headEnd/>
            <a:tailEnd/>
          </a:ln>
          <a:effectLst/>
        </p:spPr>
        <p:txBody>
          <a:bodyPr/>
          <a:lstStyle/>
          <a:p>
            <a:endParaRPr lang="en-US" dirty="0"/>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JPA with Hibernate 3.0			                  The Persistence Life Cycle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688666"/>
            <a:ext cx="2762530" cy="253016"/>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02-</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vinetworks.com/what-is-a-web-application-firewall/"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avinetworks.com/service-mesh-for-openshift-kubernetes/"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avinetworks.com/what-is-load-balanc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47824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dirty="0" smtClean="0"/>
              <a:t>What is containerized application</a:t>
            </a:r>
          </a:p>
          <a:p>
            <a:pPr marL="0" indent="0">
              <a:buFont typeface="Arial" panose="020B0604020202020204" pitchFamily="34" charset="0"/>
              <a:buNone/>
            </a:pPr>
            <a:r>
              <a:rPr lang="en-IN" dirty="0" smtClean="0"/>
              <a:t>	-A containerize applications are app which runs in the container.</a:t>
            </a:r>
          </a:p>
          <a:p>
            <a:pPr marL="0" indent="0">
              <a:buFont typeface="Arial" panose="020B0604020202020204" pitchFamily="34" charset="0"/>
              <a:buNone/>
            </a:pPr>
            <a:r>
              <a:rPr lang="en-IN" dirty="0" smtClean="0"/>
              <a:t>What is cloud native app</a:t>
            </a:r>
          </a:p>
          <a:p>
            <a:pPr marL="0" indent="0">
              <a:buFont typeface="Arial" panose="020B0604020202020204" pitchFamily="34" charset="0"/>
              <a:buNone/>
            </a:pPr>
            <a:r>
              <a:rPr lang="en-IN" dirty="0" smtClean="0"/>
              <a:t>	- Application that is designed to meet modern business demands like scaling, self healing ,rolling updates</a:t>
            </a:r>
            <a:r>
              <a:rPr lang="en-IN" baseline="0" dirty="0" smtClean="0"/>
              <a:t> and can run on kubernetes.</a:t>
            </a:r>
          </a:p>
          <a:p>
            <a:pPr marL="0" indent="0">
              <a:buFont typeface="Arial" panose="020B0604020202020204" pitchFamily="34" charset="0"/>
              <a:buNone/>
            </a:pPr>
            <a:r>
              <a:rPr lang="en-IN" baseline="0" dirty="0" smtClean="0"/>
              <a:t>What is miroservice App</a:t>
            </a:r>
          </a:p>
          <a:p>
            <a:pPr marL="0" indent="0">
              <a:buFont typeface="Arial" panose="020B0604020202020204" pitchFamily="34" charset="0"/>
              <a:buNone/>
            </a:pPr>
            <a:r>
              <a:rPr lang="en-IN" baseline="0" dirty="0" smtClean="0"/>
              <a:t>	-It is application that is built  from lots of small specialized parts that communicate  and form meaningful  application.</a:t>
            </a:r>
          </a:p>
          <a:p>
            <a:pPr marL="0" indent="0">
              <a:buFont typeface="Arial" panose="020B0604020202020204" pitchFamily="34" charset="0"/>
              <a:buNone/>
            </a:pPr>
            <a:r>
              <a:rPr lang="en-IN" baseline="0" dirty="0" smtClean="0"/>
              <a:t>Where did kubernetes come from</a:t>
            </a:r>
          </a:p>
          <a:p>
            <a:pPr marL="0" indent="0">
              <a:buFont typeface="Arial" panose="020B0604020202020204" pitchFamily="34" charset="0"/>
              <a:buNone/>
            </a:pPr>
            <a:r>
              <a:rPr lang="en-IN" baseline="0" dirty="0" smtClean="0"/>
              <a:t>	-Google</a:t>
            </a:r>
          </a:p>
          <a:p>
            <a:pPr marL="0" indent="0">
              <a:buFont typeface="Arial" panose="020B0604020202020204" pitchFamily="34" charset="0"/>
              <a:buNone/>
            </a:pPr>
            <a:r>
              <a:rPr lang="en-IN" baseline="0" dirty="0" smtClean="0"/>
              <a:t>                          -Kubernetes and Docker are complementary technology.</a:t>
            </a:r>
          </a:p>
          <a:p>
            <a:pPr marL="0" indent="0">
              <a:buFont typeface="Arial" panose="020B0604020202020204" pitchFamily="34" charset="0"/>
              <a:buNone/>
            </a:pPr>
            <a:r>
              <a:rPr lang="en-IN" baseline="0" dirty="0" smtClean="0"/>
              <a:t>                           -It is common to develop  your application with Docker  and use kubernetes to orchestrate  them in the production.</a:t>
            </a:r>
          </a:p>
          <a:p>
            <a:pPr marL="0" indent="0">
              <a:buFont typeface="Arial" panose="020B0604020202020204" pitchFamily="34" charset="0"/>
              <a:buNone/>
            </a:pPr>
            <a:r>
              <a:rPr lang="en-IN" baseline="0" dirty="0" smtClean="0"/>
              <a:t>Operating system of cloud</a:t>
            </a:r>
          </a:p>
          <a:p>
            <a:pPr marL="0" indent="0">
              <a:buFont typeface="Arial" panose="020B0604020202020204" pitchFamily="34" charset="0"/>
              <a:buNone/>
            </a:pPr>
            <a:r>
              <a:rPr lang="en-IN" baseline="0" dirty="0" smtClean="0"/>
              <a:t>	- We install traditional  OS on server and OS abstract the physical server resources and schedule the processes.</a:t>
            </a:r>
          </a:p>
          <a:p>
            <a:pPr marL="0" indent="0">
              <a:buFont typeface="Arial" panose="020B0604020202020204" pitchFamily="34" charset="0"/>
              <a:buNone/>
            </a:pPr>
            <a:r>
              <a:rPr lang="en-IN" baseline="0" dirty="0" smtClean="0"/>
              <a:t>                         -Like wise  we install kubernetes on cloud and it abstract the cloud resources and schedule the various micro services of cloud –native application</a:t>
            </a:r>
            <a:endParaRPr lang="en-IN" dirty="0" smtClean="0"/>
          </a:p>
          <a:p>
            <a:endParaRPr lang="en-IN" dirty="0"/>
          </a:p>
        </p:txBody>
      </p:sp>
    </p:spTree>
    <p:extLst>
      <p:ext uri="{BB962C8B-B14F-4D97-AF65-F5344CB8AC3E}">
        <p14:creationId xmlns:p14="http://schemas.microsoft.com/office/powerpoint/2010/main" val="2122513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smtClean="0"/>
              <a:t>Automatic Binpacking </a:t>
            </a:r>
            <a:r>
              <a:rPr lang="en-US" dirty="0" smtClean="0"/>
              <a:t>-  Kubernetes  packages our application and automatically places a container based on requirement and resources availab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smtClean="0"/>
              <a:t>Service Discovery &amp; Load Balancing   </a:t>
            </a:r>
            <a:r>
              <a:rPr lang="en-US" b="0" dirty="0" smtClean="0"/>
              <a:t>- No need to worry about networking and communication since kubernetes automatically assigns the containers and its  IP address and single DNS</a:t>
            </a:r>
            <a:r>
              <a:rPr lang="en-US" b="0" baseline="0" dirty="0" smtClean="0"/>
              <a:t> names for a set of containers which are performing logical operation.</a:t>
            </a:r>
            <a:endParaRPr lang="en-US" b="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smtClean="0"/>
              <a:t>Self Healing   -</a:t>
            </a:r>
            <a:r>
              <a:rPr lang="en-US" b="1" baseline="0" dirty="0" smtClean="0"/>
              <a:t> </a:t>
            </a:r>
            <a:r>
              <a:rPr lang="en-US" b="0" baseline="0" dirty="0" smtClean="0"/>
              <a:t>When kubernetes realize  that container is failed then it restart a container by  its own. It  creates a new container instead of crashed one. Incase even if  node get failed,  kubernetes  will do that whatever containers   was running in failed node it will get started in new node. Of course we will require more node created in the clust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smtClean="0"/>
              <a:t>Secrete and Configuration  </a:t>
            </a:r>
            <a:r>
              <a:rPr lang="en-US" b="0" dirty="0" smtClean="0"/>
              <a:t>-    We can deploy and update our secrete  and application configuration without  having to rebuilding the entire  image and without having to expose the secrete in the stack configu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smtClean="0"/>
          </a:p>
        </p:txBody>
      </p:sp>
    </p:spTree>
    <p:extLst>
      <p:ext uri="{BB962C8B-B14F-4D97-AF65-F5344CB8AC3E}">
        <p14:creationId xmlns:p14="http://schemas.microsoft.com/office/powerpoint/2010/main" val="29703121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smtClean="0"/>
              <a:t>Storage orchestration- </a:t>
            </a:r>
            <a:r>
              <a:rPr lang="en-US" b="0" dirty="0" smtClean="0"/>
              <a:t>With kubernetes we can automatically mount our storage system of our  choice. we can choose local storage, or  storage on public cloud provide like GCP /AWS or network storage syst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smtClean="0"/>
              <a:t>Horizontal Scaling- </a:t>
            </a:r>
            <a:r>
              <a:rPr lang="en-US" b="0" dirty="0" smtClean="0"/>
              <a:t>We can run simple command  to easily scale up </a:t>
            </a:r>
            <a:r>
              <a:rPr lang="en-US" b="0" baseline="0" dirty="0" smtClean="0"/>
              <a:t> and down the application.</a:t>
            </a:r>
            <a:endParaRPr lang="en-US" b="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smtClean="0"/>
              <a:t>Batch Execution- </a:t>
            </a:r>
            <a:r>
              <a:rPr lang="en-US" b="0" dirty="0" smtClean="0"/>
              <a:t>Along</a:t>
            </a:r>
            <a:r>
              <a:rPr lang="en-US" b="0" baseline="0" dirty="0" smtClean="0"/>
              <a:t> with services, kubernetes can manage batch and  save workload. More of with respect to Devops role.</a:t>
            </a:r>
            <a:endParaRPr lang="en-US" b="1"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smtClean="0"/>
              <a:t>Automatic Rollback and Rollouts-  </a:t>
            </a:r>
            <a:r>
              <a:rPr lang="en-US" b="0" dirty="0" smtClean="0"/>
              <a:t>Whenever there is update in the application to be release, kubernetes  progressively roll out the changes in the application ensuring that   one  instance after  the other send this update . And it</a:t>
            </a:r>
            <a:r>
              <a:rPr lang="en-US" b="0" baseline="0" dirty="0" smtClean="0"/>
              <a:t> ensures high availability and if something goes wrong then it will rollback that change for you.</a:t>
            </a:r>
            <a:endParaRPr lang="en-US" b="0" dirty="0" smtClean="0"/>
          </a:p>
          <a:p>
            <a:endParaRPr lang="en-IN" dirty="0"/>
          </a:p>
        </p:txBody>
      </p:sp>
    </p:spTree>
    <p:extLst>
      <p:ext uri="{BB962C8B-B14F-4D97-AF65-F5344CB8AC3E}">
        <p14:creationId xmlns:p14="http://schemas.microsoft.com/office/powerpoint/2010/main" val="14801915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100586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417911" cy="400110"/>
          </a:xfrm>
          <a:prstGeom prst="rect">
            <a:avLst/>
          </a:prstGeom>
          <a:noFill/>
          <a:ln w="9525">
            <a:noFill/>
            <a:miter lim="800000"/>
            <a:headEnd/>
            <a:tailEnd/>
          </a:ln>
          <a:effectLst/>
        </p:spPr>
        <p:txBody>
          <a:bodyPr wrap="square">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712604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Container orchestration works with tools like Kubernetes and Docker Swarm.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Configurations files tell the container orchestration tool how to network between containers and where to store logs.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The orchestration tool also schedules deployment of containers into clusters and determines the best host for the container.</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 After a host is decided, the orchestration tool manages the lifecycle of the container based on predetermined specifications.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Container orchestration tools work in any environment that runs containers.</a:t>
            </a:r>
            <a:endParaRPr lang="en-IN" dirty="0"/>
          </a:p>
        </p:txBody>
      </p:sp>
    </p:spTree>
    <p:extLst>
      <p:ext uri="{BB962C8B-B14F-4D97-AF65-F5344CB8AC3E}">
        <p14:creationId xmlns:p14="http://schemas.microsoft.com/office/powerpoint/2010/main" val="2025487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IN" sz="1000" b="1" i="0" kern="1200" dirty="0" smtClean="0">
                <a:solidFill>
                  <a:schemeClr val="tx1"/>
                </a:solidFill>
                <a:effectLst/>
                <a:latin typeface="Arial" pitchFamily="34" charset="0"/>
                <a:ea typeface="+mn-ea"/>
                <a:cs typeface="Arial" pitchFamily="34" charset="0"/>
              </a:rPr>
              <a:t>Benefits of Containerized Orchestration Tools</a:t>
            </a:r>
          </a:p>
          <a:p>
            <a:r>
              <a:rPr lang="en-IN" sz="1000" b="0" i="0" kern="1200" dirty="0" smtClean="0">
                <a:solidFill>
                  <a:schemeClr val="tx1"/>
                </a:solidFill>
                <a:effectLst/>
                <a:latin typeface="Arial" pitchFamily="34" charset="0"/>
                <a:ea typeface="+mn-ea"/>
                <a:cs typeface="Arial" pitchFamily="34" charset="0"/>
              </a:rPr>
              <a:t>• Increased portability — Scale applications with a single command and only scale specific functions without affecting the entire application.</a:t>
            </a:r>
            <a:br>
              <a:rPr lang="en-IN" sz="1000" b="0" i="0" kern="1200" dirty="0" smtClean="0">
                <a:solidFill>
                  <a:schemeClr val="tx1"/>
                </a:solidFill>
                <a:effectLst/>
                <a:latin typeface="Arial" pitchFamily="34" charset="0"/>
                <a:ea typeface="+mn-ea"/>
                <a:cs typeface="Arial" pitchFamily="34" charset="0"/>
              </a:rPr>
            </a:br>
            <a:r>
              <a:rPr lang="en-IN" sz="1000" b="0" i="0" kern="1200" dirty="0" smtClean="0">
                <a:solidFill>
                  <a:schemeClr val="tx1"/>
                </a:solidFill>
                <a:effectLst/>
                <a:latin typeface="Arial" pitchFamily="34" charset="0"/>
                <a:ea typeface="+mn-ea"/>
                <a:cs typeface="Arial" pitchFamily="34" charset="0"/>
              </a:rPr>
              <a:t>• Simple and fast deployment — Quickly create new containerized applications to address growing traffic.</a:t>
            </a:r>
            <a:br>
              <a:rPr lang="en-IN" sz="1000" b="0" i="0" kern="1200" dirty="0" smtClean="0">
                <a:solidFill>
                  <a:schemeClr val="tx1"/>
                </a:solidFill>
                <a:effectLst/>
                <a:latin typeface="Arial" pitchFamily="34" charset="0"/>
                <a:ea typeface="+mn-ea"/>
                <a:cs typeface="Arial" pitchFamily="34" charset="0"/>
              </a:rPr>
            </a:br>
            <a:r>
              <a:rPr lang="en-IN" sz="1000" b="0" i="0" kern="1200" dirty="0" smtClean="0">
                <a:solidFill>
                  <a:schemeClr val="tx1"/>
                </a:solidFill>
                <a:effectLst/>
                <a:latin typeface="Arial" pitchFamily="34" charset="0"/>
                <a:ea typeface="+mn-ea"/>
                <a:cs typeface="Arial" pitchFamily="34" charset="0"/>
              </a:rPr>
              <a:t>• Enhanced productivity — Simplified installation process and decreased dependency errors.</a:t>
            </a:r>
            <a:br>
              <a:rPr lang="en-IN" sz="1000" b="0" i="0" kern="1200" dirty="0" smtClean="0">
                <a:solidFill>
                  <a:schemeClr val="tx1"/>
                </a:solidFill>
                <a:effectLst/>
                <a:latin typeface="Arial" pitchFamily="34" charset="0"/>
                <a:ea typeface="+mn-ea"/>
                <a:cs typeface="Arial" pitchFamily="34" charset="0"/>
              </a:rPr>
            </a:br>
            <a:r>
              <a:rPr lang="en-IN" sz="1000" b="0" i="0" kern="1200" dirty="0" smtClean="0">
                <a:solidFill>
                  <a:schemeClr val="tx1"/>
                </a:solidFill>
                <a:effectLst/>
                <a:latin typeface="Arial" pitchFamily="34" charset="0"/>
                <a:ea typeface="+mn-ea"/>
                <a:cs typeface="Arial" pitchFamily="34" charset="0"/>
              </a:rPr>
              <a:t>• Improved security — Share specific resources without risking internal or external security.</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Application isolation improves </a:t>
            </a:r>
            <a:r>
              <a:rPr lang="en-IN" sz="1000" b="0" i="0" u="none" strike="noStrike" kern="1200" dirty="0" smtClean="0">
                <a:solidFill>
                  <a:schemeClr val="tx1"/>
                </a:solidFill>
                <a:effectLst/>
                <a:latin typeface="Arial" pitchFamily="34" charset="0"/>
                <a:ea typeface="+mn-ea"/>
                <a:cs typeface="Arial" pitchFamily="34" charset="0"/>
                <a:hlinkClick r:id="rId3"/>
              </a:rPr>
              <a:t>web application security</a:t>
            </a:r>
            <a:r>
              <a:rPr lang="en-IN" sz="1000" b="0" i="0" kern="1200" dirty="0" smtClean="0">
                <a:solidFill>
                  <a:schemeClr val="tx1"/>
                </a:solidFill>
                <a:effectLst/>
                <a:latin typeface="Arial" pitchFamily="34" charset="0"/>
                <a:ea typeface="+mn-ea"/>
                <a:cs typeface="Arial" pitchFamily="34" charset="0"/>
              </a:rPr>
              <a:t> by separating each application’s process into different containers.</a:t>
            </a:r>
          </a:p>
          <a:p>
            <a:pPr marL="171450" indent="-171450">
              <a:buFont typeface="Arial" panose="020B0604020202020204" pitchFamily="34" charset="0"/>
              <a:buChar char="•"/>
            </a:pPr>
            <a:endParaRPr lang="en-IN" dirty="0"/>
          </a:p>
        </p:txBody>
      </p:sp>
    </p:spTree>
    <p:extLst>
      <p:ext uri="{BB962C8B-B14F-4D97-AF65-F5344CB8AC3E}">
        <p14:creationId xmlns:p14="http://schemas.microsoft.com/office/powerpoint/2010/main" val="2918946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sz="1000" b="0" i="0" u="none" strike="noStrike" kern="1200" dirty="0" smtClean="0">
                <a:solidFill>
                  <a:schemeClr val="tx1"/>
                </a:solidFill>
                <a:effectLst/>
                <a:latin typeface="Arial" pitchFamily="34" charset="0"/>
                <a:ea typeface="+mn-ea"/>
                <a:cs typeface="Arial" pitchFamily="34" charset="0"/>
                <a:hlinkClick r:id="rId3"/>
              </a:rPr>
              <a:t>Orchestration tools for Kubernetes</a:t>
            </a:r>
            <a:r>
              <a:rPr lang="en-IN" sz="1000" b="0" i="0" kern="1200" dirty="0" smtClean="0">
                <a:solidFill>
                  <a:schemeClr val="tx1"/>
                </a:solidFill>
                <a:effectLst/>
                <a:latin typeface="Arial" pitchFamily="34" charset="0"/>
                <a:ea typeface="+mn-ea"/>
                <a:cs typeface="Arial" pitchFamily="34" charset="0"/>
              </a:rPr>
              <a:t> include the following features:</a:t>
            </a:r>
            <a:r>
              <a:rPr lang="en-IN" dirty="0" smtClean="0"/>
              <a:t/>
            </a:r>
            <a:br>
              <a:rPr lang="en-IN" dirty="0" smtClean="0"/>
            </a:br>
            <a:r>
              <a:rPr lang="en-IN" sz="1000" b="0" i="0" kern="1200" dirty="0" smtClean="0">
                <a:solidFill>
                  <a:schemeClr val="tx1"/>
                </a:solidFill>
                <a:effectLst/>
                <a:latin typeface="Arial" pitchFamily="34" charset="0"/>
                <a:ea typeface="+mn-ea"/>
                <a:cs typeface="Arial" pitchFamily="34" charset="0"/>
              </a:rPr>
              <a:t>• Automated deployment and replication of containers.</a:t>
            </a:r>
            <a:r>
              <a:rPr lang="en-IN" dirty="0" smtClean="0"/>
              <a:t/>
            </a:r>
            <a:br>
              <a:rPr lang="en-IN" dirty="0" smtClean="0"/>
            </a:br>
            <a:r>
              <a:rPr lang="en-IN" sz="1000" b="0" i="0" kern="1200" dirty="0" smtClean="0">
                <a:solidFill>
                  <a:schemeClr val="tx1"/>
                </a:solidFill>
                <a:effectLst/>
                <a:latin typeface="Arial" pitchFamily="34" charset="0"/>
                <a:ea typeface="+mn-ea"/>
                <a:cs typeface="Arial" pitchFamily="34" charset="0"/>
              </a:rPr>
              <a:t>• Online scale-in or scale-out of container clusters.</a:t>
            </a:r>
            <a:r>
              <a:rPr lang="en-IN" dirty="0" smtClean="0"/>
              <a:t/>
            </a:r>
            <a:br>
              <a:rPr lang="en-IN" dirty="0" smtClean="0"/>
            </a:br>
            <a:r>
              <a:rPr lang="en-IN" sz="1000" b="0" i="0" kern="1200" dirty="0" smtClean="0">
                <a:solidFill>
                  <a:schemeClr val="tx1"/>
                </a:solidFill>
                <a:effectLst/>
                <a:latin typeface="Arial" pitchFamily="34" charset="0"/>
                <a:ea typeface="+mn-ea"/>
                <a:cs typeface="Arial" pitchFamily="34" charset="0"/>
              </a:rPr>
              <a:t>• </a:t>
            </a:r>
            <a:r>
              <a:rPr lang="en-IN" sz="1000" b="0" i="0" u="none" strike="noStrike" kern="1200" dirty="0" smtClean="0">
                <a:solidFill>
                  <a:schemeClr val="tx1"/>
                </a:solidFill>
                <a:effectLst/>
                <a:latin typeface="Arial" pitchFamily="34" charset="0"/>
                <a:ea typeface="+mn-ea"/>
                <a:cs typeface="Arial" pitchFamily="34" charset="0"/>
                <a:hlinkClick r:id="rId4"/>
              </a:rPr>
              <a:t>Load balancing </a:t>
            </a:r>
            <a:r>
              <a:rPr lang="en-IN" sz="1000" b="0" i="0" kern="1200" dirty="0" smtClean="0">
                <a:solidFill>
                  <a:schemeClr val="tx1"/>
                </a:solidFill>
                <a:effectLst/>
                <a:latin typeface="Arial" pitchFamily="34" charset="0"/>
                <a:ea typeface="+mn-ea"/>
                <a:cs typeface="Arial" pitchFamily="34" charset="0"/>
              </a:rPr>
              <a:t>groups of containers.</a:t>
            </a:r>
            <a:r>
              <a:rPr lang="en-IN" dirty="0" smtClean="0"/>
              <a:t/>
            </a:r>
            <a:br>
              <a:rPr lang="en-IN" dirty="0" smtClean="0"/>
            </a:br>
            <a:r>
              <a:rPr lang="en-IN" sz="1000" b="0" i="0" kern="1200" dirty="0" smtClean="0">
                <a:solidFill>
                  <a:schemeClr val="tx1"/>
                </a:solidFill>
                <a:effectLst/>
                <a:latin typeface="Arial" pitchFamily="34" charset="0"/>
                <a:ea typeface="+mn-ea"/>
                <a:cs typeface="Arial" pitchFamily="34" charset="0"/>
              </a:rPr>
              <a:t>• Automated rescheduling of failed containers.</a:t>
            </a:r>
            <a:r>
              <a:rPr lang="en-IN" dirty="0" smtClean="0"/>
              <a:t/>
            </a:r>
            <a:br>
              <a:rPr lang="en-IN" dirty="0" smtClean="0"/>
            </a:br>
            <a:r>
              <a:rPr lang="en-IN" sz="1000" b="0" i="0" kern="1200" dirty="0" smtClean="0">
                <a:solidFill>
                  <a:schemeClr val="tx1"/>
                </a:solidFill>
                <a:effectLst/>
                <a:latin typeface="Arial" pitchFamily="34" charset="0"/>
                <a:ea typeface="+mn-ea"/>
                <a:cs typeface="Arial" pitchFamily="34" charset="0"/>
              </a:rPr>
              <a:t>• Controlled exposure of network ports to systems outside of the cluster.</a:t>
            </a:r>
            <a:endParaRPr lang="en-IN" dirty="0"/>
          </a:p>
        </p:txBody>
      </p:sp>
    </p:spTree>
    <p:extLst>
      <p:ext uri="{BB962C8B-B14F-4D97-AF65-F5344CB8AC3E}">
        <p14:creationId xmlns:p14="http://schemas.microsoft.com/office/powerpoint/2010/main" val="765976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Tx/>
              <a:buChar char="-"/>
            </a:pPr>
            <a:r>
              <a:rPr lang="en-IN" dirty="0" smtClean="0"/>
              <a:t>If the  container  which are getting scaled up do not talk  to each other ,Then it will be of no  use.</a:t>
            </a:r>
          </a:p>
          <a:p>
            <a:pPr marL="171450" indent="-171450">
              <a:buFontTx/>
              <a:buChar char="-"/>
            </a:pPr>
            <a:r>
              <a:rPr lang="en-IN" sz="1000" b="0" i="0" kern="1200" dirty="0" smtClean="0">
                <a:solidFill>
                  <a:schemeClr val="tx1"/>
                </a:solidFill>
                <a:effectLst/>
                <a:latin typeface="Arial" pitchFamily="34" charset="0"/>
                <a:ea typeface="+mn-ea"/>
                <a:cs typeface="Arial" pitchFamily="34" charset="0"/>
              </a:rPr>
              <a:t>Kubernetes is a portable, extensible, open-source platform for managing containerized workloads and services, that facilitates both declarative configuration and automation. It has a large, rapidly growing ecosystem. Kubernetes services, support, and tools are widely available.</a:t>
            </a:r>
            <a:endParaRPr lang="en-IN" dirty="0" smtClean="0"/>
          </a:p>
          <a:p>
            <a:endParaRPr lang="en-IN" dirty="0"/>
          </a:p>
        </p:txBody>
      </p:sp>
    </p:spTree>
    <p:extLst>
      <p:ext uri="{BB962C8B-B14F-4D97-AF65-F5344CB8AC3E}">
        <p14:creationId xmlns:p14="http://schemas.microsoft.com/office/powerpoint/2010/main" val="18580809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IN" dirty="0"/>
          </a:p>
        </p:txBody>
      </p:sp>
    </p:spTree>
    <p:extLst>
      <p:ext uri="{BB962C8B-B14F-4D97-AF65-F5344CB8AC3E}">
        <p14:creationId xmlns:p14="http://schemas.microsoft.com/office/powerpoint/2010/main" val="436185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IN" dirty="0" smtClean="0"/>
              <a:t>Solution</a:t>
            </a:r>
            <a:r>
              <a:rPr lang="en-IN" baseline="0" dirty="0" smtClean="0"/>
              <a:t> for above is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Kubernetes is a tool used to manage clusters of containerized applications. In computing, this process is often referred to as </a:t>
            </a:r>
            <a:r>
              <a:rPr lang="en-IN" sz="1000" b="1" i="0" kern="1200" dirty="0" smtClean="0">
                <a:solidFill>
                  <a:schemeClr val="tx1"/>
                </a:solidFill>
                <a:effectLst/>
                <a:latin typeface="Arial" pitchFamily="34" charset="0"/>
                <a:ea typeface="+mn-ea"/>
                <a:cs typeface="Arial" pitchFamily="34" charset="0"/>
              </a:rPr>
              <a:t>orchestration</a:t>
            </a:r>
            <a:r>
              <a:rPr lang="en-IN" sz="1000" b="0" i="0" kern="1200" dirty="0" smtClean="0">
                <a:solidFill>
                  <a:schemeClr val="tx1"/>
                </a:solidFill>
                <a:effectLst/>
                <a:latin typeface="Arial" pitchFamily="34" charset="0"/>
                <a:ea typeface="+mn-ea"/>
                <a:cs typeface="Arial" pitchFamily="34" charset="0"/>
              </a:rPr>
              <a:t>.</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Kubernetes coordinates lots of micro services that together form a useful application.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Kubernetes automatically and perpetually monitors the cluster and makes adjustments to its components.</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Kubernetes, or </a:t>
            </a:r>
            <a:r>
              <a:rPr lang="en-IN" sz="1000" b="1" i="0" kern="1200" dirty="0" smtClean="0">
                <a:solidFill>
                  <a:schemeClr val="tx1"/>
                </a:solidFill>
                <a:effectLst/>
                <a:latin typeface="Arial" pitchFamily="34" charset="0"/>
                <a:ea typeface="+mn-ea"/>
                <a:cs typeface="Arial" pitchFamily="34" charset="0"/>
              </a:rPr>
              <a:t>k8s</a:t>
            </a:r>
            <a:r>
              <a:rPr lang="en-IN" sz="1000" b="0" i="0" kern="1200" dirty="0" smtClean="0">
                <a:solidFill>
                  <a:schemeClr val="tx1"/>
                </a:solidFill>
                <a:effectLst/>
                <a:latin typeface="Arial" pitchFamily="34" charset="0"/>
                <a:ea typeface="+mn-ea"/>
                <a:cs typeface="Arial" pitchFamily="34" charset="0"/>
              </a:rPr>
              <a:t> for short, is a system for automating application deployment.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Modern applications are dispersed across clouds, virtual machines, and servers. Administering apps manually is no longer a viable option.</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It helps manage containers that run the applications and ensures there is no downtime in a production environment. </a:t>
            </a:r>
          </a:p>
          <a:p>
            <a:pPr marL="171450" indent="-171450">
              <a:buFont typeface="Arial" panose="020B0604020202020204" pitchFamily="34" charset="0"/>
              <a:buChar char="•"/>
            </a:pPr>
            <a:r>
              <a:rPr lang="en-IN" sz="1000" b="0" i="0" kern="1200" dirty="0" smtClean="0">
                <a:solidFill>
                  <a:schemeClr val="tx1"/>
                </a:solidFill>
                <a:effectLst/>
                <a:latin typeface="Arial" pitchFamily="34" charset="0"/>
                <a:ea typeface="+mn-ea"/>
                <a:cs typeface="Arial" pitchFamily="34" charset="0"/>
              </a:rPr>
              <a:t>For example, if a container goes down, another container automatically takes its place without the end-user ever noticing.</a:t>
            </a:r>
            <a:endParaRPr lang="en-IN" dirty="0" smtClean="0"/>
          </a:p>
          <a:p>
            <a:pPr marL="0" indent="0">
              <a:buFont typeface="Arial" panose="020B0604020202020204" pitchFamily="34" charset="0"/>
              <a:buNone/>
            </a:pPr>
            <a:endParaRPr lang="en-IN" dirty="0" smtClean="0"/>
          </a:p>
          <a:p>
            <a:endParaRPr lang="en-IN" dirty="0"/>
          </a:p>
        </p:txBody>
      </p:sp>
    </p:spTree>
    <p:extLst>
      <p:ext uri="{BB962C8B-B14F-4D97-AF65-F5344CB8AC3E}">
        <p14:creationId xmlns:p14="http://schemas.microsoft.com/office/powerpoint/2010/main" val="4087626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dirty="0" smtClean="0"/>
              <a:t>Kubernetes analyse traffic and load used by container and as when traffic reach the threshold it start scaling up the container. </a:t>
            </a:r>
          </a:p>
          <a:p>
            <a:pPr marL="171450" indent="-171450">
              <a:buFont typeface="Arial" panose="020B0604020202020204" pitchFamily="34" charset="0"/>
              <a:buChar char="•"/>
            </a:pPr>
            <a:r>
              <a:rPr lang="en-IN" dirty="0" smtClean="0"/>
              <a:t>Containerization is good and better than VM but when containers are scaled they still cannot meet the today requirement  specially in ecommerce application</a:t>
            </a:r>
          </a:p>
          <a:p>
            <a:pPr marL="171450" indent="-171450">
              <a:buFont typeface="Arial" panose="020B0604020202020204" pitchFamily="34" charset="0"/>
              <a:buChar char="•"/>
            </a:pPr>
            <a:r>
              <a:rPr lang="en-IN" dirty="0" smtClean="0"/>
              <a:t>Kubernetes is best when demand is even more   and  so we use kubernetes  as container management tool.</a:t>
            </a:r>
          </a:p>
          <a:p>
            <a:pPr marL="171450" indent="-171450">
              <a:buFont typeface="Arial" panose="020B0604020202020204" pitchFamily="34" charset="0"/>
              <a:buChar char="•"/>
            </a:pPr>
            <a:r>
              <a:rPr lang="en-IN" dirty="0" smtClean="0"/>
              <a:t>This is google developed open source product. And it is developed in Go Language.</a:t>
            </a:r>
          </a:p>
          <a:p>
            <a:pPr marL="171450" indent="-171450">
              <a:buFont typeface="Arial" panose="020B0604020202020204" pitchFamily="34" charset="0"/>
              <a:buChar char="•"/>
            </a:pPr>
            <a:r>
              <a:rPr lang="en-IN" dirty="0" smtClean="0"/>
              <a:t>Now google has donated this product to CNCF that is Cloud Native Computing Foundation.</a:t>
            </a:r>
          </a:p>
          <a:p>
            <a:pPr marL="171450" indent="-171450">
              <a:buFont typeface="Arial" panose="020B0604020202020204" pitchFamily="34" charset="0"/>
              <a:buChar char="•"/>
            </a:pPr>
            <a:endParaRPr lang="en-IN" dirty="0" smtClean="0"/>
          </a:p>
          <a:p>
            <a:endParaRPr lang="en-IN" dirty="0"/>
          </a:p>
        </p:txBody>
      </p:sp>
    </p:spTree>
    <p:extLst>
      <p:ext uri="{BB962C8B-B14F-4D97-AF65-F5344CB8AC3E}">
        <p14:creationId xmlns:p14="http://schemas.microsoft.com/office/powerpoint/2010/main" val="32621136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16017319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439075935"/>
      </p:ext>
    </p:extLst>
  </p:cSld>
  <p:clrMapOvr>
    <a:masterClrMapping/>
  </p:clrMapOvr>
  <p:timing>
    <p:tnLst>
      <p:par>
        <p:cTn id="1" dur="indefinite" restart="never" nodeType="tmRoot"/>
      </p:par>
    </p:tn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urseGoal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9657037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7727482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355457257"/>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982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46197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084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1506792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860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6445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553154442"/>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0123089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3">
            <a:extLst>
              <a:ext uri="{96DAC541-7B7A-43D3-8B79-37D633B846F1}">
                <asvg:svgBlip xmlns:asvg="http://schemas.microsoft.com/office/drawing/2016/SVG/main" xmlns="" r:embed="rId15"/>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1477072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9" r:id="rId7"/>
    <p:sldLayoutId id="2147483740" r:id="rId8"/>
    <p:sldLayoutId id="2147483741" r:id="rId9"/>
    <p:sldLayoutId id="2147483742" r:id="rId10"/>
    <p:sldLayoutId id="2147483743" r:id="rId11"/>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185880" y="3221026"/>
            <a:ext cx="6067686" cy="927423"/>
          </a:xfrm>
        </p:spPr>
        <p:txBody>
          <a:bodyPr>
            <a:normAutofit/>
          </a:bodyPr>
          <a:lstStyle/>
          <a:p>
            <a:endParaRPr lang="en-US" sz="2400" b="0" dirty="0" smtClean="0"/>
          </a:p>
          <a:p>
            <a:endParaRPr lang="en-US" sz="2400" dirty="0"/>
          </a:p>
          <a:p>
            <a:r>
              <a:rPr lang="en-US" sz="2400" b="0" dirty="0" smtClean="0"/>
              <a:t>Lesson01- Introduction To Kubernetes</a:t>
            </a:r>
            <a:endParaRPr lang="en-US" sz="24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What is Kubernetes</a:t>
            </a:r>
          </a:p>
        </p:txBody>
      </p:sp>
      <p:pic>
        <p:nvPicPr>
          <p:cNvPr id="3" name="Picture 2"/>
          <p:cNvPicPr>
            <a:picLocks noChangeAspect="1"/>
          </p:cNvPicPr>
          <p:nvPr/>
        </p:nvPicPr>
        <p:blipFill>
          <a:blip r:embed="rId3"/>
          <a:stretch>
            <a:fillRect/>
          </a:stretch>
        </p:blipFill>
        <p:spPr>
          <a:xfrm>
            <a:off x="674370" y="1405890"/>
            <a:ext cx="7517130" cy="4457699"/>
          </a:xfrm>
          <a:prstGeom prst="rect">
            <a:avLst/>
          </a:prstGeom>
        </p:spPr>
      </p:pic>
    </p:spTree>
    <p:extLst>
      <p:ext uri="{BB962C8B-B14F-4D97-AF65-F5344CB8AC3E}">
        <p14:creationId xmlns:p14="http://schemas.microsoft.com/office/powerpoint/2010/main" val="27500983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53098"/>
          </a:xfrm>
        </p:spPr>
        <p:txBody>
          <a:bodyPr/>
          <a:lstStyle/>
          <a:p>
            <a:r>
              <a:rPr lang="en-IN" dirty="0" smtClean="0"/>
              <a:t>Features of Kubernetes</a:t>
            </a:r>
            <a:endParaRPr lang="en-IN"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268821093"/>
              </p:ext>
            </p:extLst>
          </p:nvPr>
        </p:nvGraphicFramePr>
        <p:xfrm>
          <a:off x="607209" y="971550"/>
          <a:ext cx="7302500" cy="47078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326203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313068"/>
          </a:xfrm>
        </p:spPr>
        <p:txBody>
          <a:bodyPr/>
          <a:lstStyle/>
          <a:p>
            <a:r>
              <a:rPr lang="en-IN" dirty="0" smtClean="0"/>
              <a:t>Features of Kubernetes</a:t>
            </a:r>
            <a:endParaRPr lang="en-IN"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379032824"/>
              </p:ext>
            </p:extLst>
          </p:nvPr>
        </p:nvGraphicFramePr>
        <p:xfrm>
          <a:off x="309801" y="1077562"/>
          <a:ext cx="8324000" cy="4643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978961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610248"/>
          </a:xfrm>
        </p:spPr>
        <p:txBody>
          <a:bodyPr/>
          <a:lstStyle/>
          <a:p>
            <a:r>
              <a:rPr lang="en-IN" dirty="0"/>
              <a:t>Features of Kubernetes</a:t>
            </a:r>
          </a:p>
        </p:txBody>
      </p:sp>
      <p:graphicFrame>
        <p:nvGraphicFramePr>
          <p:cNvPr id="4" name="Diagram 3"/>
          <p:cNvGraphicFramePr/>
          <p:nvPr>
            <p:extLst>
              <p:ext uri="{D42A27DB-BD31-4B8C-83A1-F6EECF244321}">
                <p14:modId xmlns:p14="http://schemas.microsoft.com/office/powerpoint/2010/main" val="3184362489"/>
              </p:ext>
            </p:extLst>
          </p:nvPr>
        </p:nvGraphicFramePr>
        <p:xfrm>
          <a:off x="1524000" y="1028700"/>
          <a:ext cx="5688330" cy="48120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445380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340" y="418452"/>
            <a:ext cx="8188110" cy="507378"/>
          </a:xfrm>
        </p:spPr>
        <p:txBody>
          <a:bodyPr/>
          <a:lstStyle/>
          <a:p>
            <a:r>
              <a:rPr lang="en-IN" dirty="0" smtClean="0"/>
              <a:t>Kubernetes vs Docker Swarm</a:t>
            </a:r>
            <a:endParaRPr lang="en-IN" dirty="0"/>
          </a:p>
        </p:txBody>
      </p:sp>
      <p:pic>
        <p:nvPicPr>
          <p:cNvPr id="4" name="Picture 3"/>
          <p:cNvPicPr>
            <a:picLocks noChangeAspect="1"/>
          </p:cNvPicPr>
          <p:nvPr/>
        </p:nvPicPr>
        <p:blipFill>
          <a:blip r:embed="rId2"/>
          <a:stretch>
            <a:fillRect/>
          </a:stretch>
        </p:blipFill>
        <p:spPr>
          <a:xfrm>
            <a:off x="434341" y="925831"/>
            <a:ext cx="8188110" cy="5383530"/>
          </a:xfrm>
          <a:prstGeom prst="rect">
            <a:avLst/>
          </a:prstGeom>
        </p:spPr>
      </p:pic>
    </p:spTree>
    <p:extLst>
      <p:ext uri="{BB962C8B-B14F-4D97-AF65-F5344CB8AC3E}">
        <p14:creationId xmlns:p14="http://schemas.microsoft.com/office/powerpoint/2010/main" val="38757968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r>
              <a:rPr lang="en-US" dirty="0"/>
              <a:t>In this lesson, you have learned about:</a:t>
            </a:r>
          </a:p>
          <a:p>
            <a:pPr lvl="1"/>
            <a:r>
              <a:rPr lang="en-US" dirty="0" smtClean="0"/>
              <a:t>Introduction of Kubernetes</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4039069"/>
              </p:ext>
            </p:extLst>
          </p:nvPr>
        </p:nvGraphicFramePr>
        <p:xfrm>
          <a:off x="309801" y="1172561"/>
          <a:ext cx="6794500" cy="43758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169" y="368134"/>
            <a:ext cx="8525441" cy="558141"/>
          </a:xfrm>
        </p:spPr>
        <p:txBody>
          <a:bodyPr>
            <a:normAutofit fontScale="90000"/>
          </a:bodyPr>
          <a:lstStyle/>
          <a:p>
            <a:r>
              <a:rPr lang="en-IN" sz="2700" b="1" dirty="0" smtClean="0"/>
              <a:t>Container </a:t>
            </a:r>
            <a:r>
              <a:rPr lang="en-IN" sz="2700" b="1" dirty="0"/>
              <a:t>Orchestration</a:t>
            </a:r>
            <a:r>
              <a:rPr lang="en-IN" b="1" dirty="0"/>
              <a:t/>
            </a:r>
            <a:br>
              <a:rPr lang="en-IN" b="1" dirty="0"/>
            </a:br>
            <a:endParaRPr lang="en-IN" dirty="0"/>
          </a:p>
        </p:txBody>
      </p:sp>
      <p:pic>
        <p:nvPicPr>
          <p:cNvPr id="6" name="Picture 5"/>
          <p:cNvPicPr>
            <a:picLocks noChangeAspect="1"/>
          </p:cNvPicPr>
          <p:nvPr/>
        </p:nvPicPr>
        <p:blipFill>
          <a:blip r:embed="rId3"/>
          <a:stretch>
            <a:fillRect/>
          </a:stretch>
        </p:blipFill>
        <p:spPr>
          <a:xfrm>
            <a:off x="427511" y="1009403"/>
            <a:ext cx="8182099" cy="5427270"/>
          </a:xfrm>
          <a:prstGeom prst="rect">
            <a:avLst/>
          </a:prstGeom>
        </p:spPr>
      </p:pic>
    </p:spTree>
    <p:extLst>
      <p:ext uri="{BB962C8B-B14F-4D97-AF65-F5344CB8AC3E}">
        <p14:creationId xmlns:p14="http://schemas.microsoft.com/office/powerpoint/2010/main" val="1365403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335326"/>
            <a:ext cx="6563697" cy="457202"/>
          </a:xfrm>
        </p:spPr>
        <p:txBody>
          <a:bodyPr>
            <a:normAutofit/>
          </a:bodyPr>
          <a:lstStyle/>
          <a:p>
            <a:r>
              <a:rPr lang="en-IN" b="1" dirty="0"/>
              <a:t>What </a:t>
            </a:r>
            <a:r>
              <a:rPr lang="en-IN" b="1" dirty="0" smtClean="0"/>
              <a:t> is Container </a:t>
            </a:r>
            <a:r>
              <a:rPr lang="en-IN" b="1" dirty="0"/>
              <a:t>Orchestration</a:t>
            </a:r>
          </a:p>
        </p:txBody>
      </p:sp>
      <p:graphicFrame>
        <p:nvGraphicFramePr>
          <p:cNvPr id="8" name="Diagram 7"/>
          <p:cNvGraphicFramePr/>
          <p:nvPr/>
        </p:nvGraphicFramePr>
        <p:xfrm>
          <a:off x="985652" y="1220040"/>
          <a:ext cx="7026234" cy="4668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856914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2" y="451262"/>
            <a:ext cx="7516038" cy="558141"/>
          </a:xfrm>
        </p:spPr>
        <p:txBody>
          <a:bodyPr>
            <a:noAutofit/>
          </a:bodyPr>
          <a:lstStyle/>
          <a:p>
            <a:r>
              <a:rPr lang="en-IN" sz="2400" b="1" dirty="0" smtClean="0"/>
              <a:t>Why Need </a:t>
            </a:r>
            <a:r>
              <a:rPr lang="en-IN" sz="2400" b="1" dirty="0"/>
              <a:t>Container Orchestration</a:t>
            </a:r>
            <a:r>
              <a:rPr lang="en-IN" sz="2400" b="1" dirty="0" smtClean="0"/>
              <a:t>?.</a:t>
            </a:r>
            <a:endParaRPr lang="en-IN" sz="2400" b="1" dirty="0"/>
          </a:p>
        </p:txBody>
      </p:sp>
      <p:sp>
        <p:nvSpPr>
          <p:cNvPr id="3" name="Content Placeholder 2"/>
          <p:cNvSpPr>
            <a:spLocks noGrp="1"/>
          </p:cNvSpPr>
          <p:nvPr>
            <p:ph idx="1"/>
          </p:nvPr>
        </p:nvSpPr>
        <p:spPr>
          <a:xfrm>
            <a:off x="298515" y="1143000"/>
            <a:ext cx="8548601" cy="5127171"/>
          </a:xfrm>
        </p:spPr>
        <p:txBody>
          <a:bodyPr>
            <a:normAutofit/>
          </a:bodyPr>
          <a:lstStyle/>
          <a:p>
            <a:endParaRPr lang="en-IN" dirty="0" smtClean="0"/>
          </a:p>
          <a:p>
            <a:pPr marL="285750" indent="-285750">
              <a:lnSpc>
                <a:spcPct val="100000"/>
              </a:lnSpc>
              <a:buFont typeface="Arial" panose="020B0604020202020204" pitchFamily="34" charset="0"/>
              <a:buChar char="•"/>
            </a:pPr>
            <a:r>
              <a:rPr lang="en-IN" sz="2000" dirty="0"/>
              <a:t>Configuring and scheduling of </a:t>
            </a:r>
            <a:r>
              <a:rPr lang="en-IN" sz="2000" dirty="0" smtClean="0"/>
              <a:t>containers</a:t>
            </a:r>
          </a:p>
          <a:p>
            <a:pPr marL="285750" indent="-285750">
              <a:lnSpc>
                <a:spcPct val="100000"/>
              </a:lnSpc>
              <a:buFont typeface="Arial" panose="020B0604020202020204" pitchFamily="34" charset="0"/>
              <a:buChar char="•"/>
            </a:pPr>
            <a:r>
              <a:rPr lang="en-IN" sz="2000" dirty="0" smtClean="0"/>
              <a:t>Provisioning </a:t>
            </a:r>
            <a:r>
              <a:rPr lang="en-IN" sz="2000" dirty="0"/>
              <a:t>and deployments of </a:t>
            </a:r>
            <a:r>
              <a:rPr lang="en-IN" sz="2000" dirty="0" smtClean="0"/>
              <a:t>containers</a:t>
            </a:r>
          </a:p>
          <a:p>
            <a:pPr marL="285750" indent="-285750">
              <a:lnSpc>
                <a:spcPct val="100000"/>
              </a:lnSpc>
              <a:buFont typeface="Arial" panose="020B0604020202020204" pitchFamily="34" charset="0"/>
              <a:buChar char="•"/>
            </a:pPr>
            <a:r>
              <a:rPr lang="en-IN" sz="2000" dirty="0" smtClean="0"/>
              <a:t>Availability </a:t>
            </a:r>
            <a:r>
              <a:rPr lang="en-IN" sz="2000" dirty="0"/>
              <a:t>of </a:t>
            </a:r>
            <a:r>
              <a:rPr lang="en-IN" sz="2000" dirty="0" smtClean="0"/>
              <a:t>containers</a:t>
            </a:r>
          </a:p>
          <a:p>
            <a:pPr marL="285750" indent="-285750">
              <a:lnSpc>
                <a:spcPct val="100000"/>
              </a:lnSpc>
              <a:buFont typeface="Arial" panose="020B0604020202020204" pitchFamily="34" charset="0"/>
              <a:buChar char="•"/>
            </a:pPr>
            <a:r>
              <a:rPr lang="en-IN" sz="2000" dirty="0" smtClean="0"/>
              <a:t>The </a:t>
            </a:r>
            <a:r>
              <a:rPr lang="en-IN" sz="2000" dirty="0"/>
              <a:t>configuration of applications in terms of the containers that they run </a:t>
            </a:r>
            <a:r>
              <a:rPr lang="en-IN" sz="2000" dirty="0" smtClean="0"/>
              <a:t>in.</a:t>
            </a:r>
          </a:p>
          <a:p>
            <a:pPr marL="285750" indent="-285750">
              <a:lnSpc>
                <a:spcPct val="100000"/>
              </a:lnSpc>
              <a:buFont typeface="Arial" panose="020B0604020202020204" pitchFamily="34" charset="0"/>
              <a:buChar char="•"/>
            </a:pPr>
            <a:r>
              <a:rPr lang="en-IN" sz="2000" dirty="0" smtClean="0"/>
              <a:t>Scaling </a:t>
            </a:r>
            <a:r>
              <a:rPr lang="en-IN" sz="2000" dirty="0"/>
              <a:t>of containers to equally balance application workloads across </a:t>
            </a:r>
            <a:r>
              <a:rPr lang="en-IN" sz="2000" dirty="0" smtClean="0"/>
              <a:t>infrastructure</a:t>
            </a:r>
          </a:p>
          <a:p>
            <a:pPr marL="285750" indent="-285750">
              <a:lnSpc>
                <a:spcPct val="100000"/>
              </a:lnSpc>
              <a:buFont typeface="Arial" panose="020B0604020202020204" pitchFamily="34" charset="0"/>
              <a:buChar char="•"/>
            </a:pPr>
            <a:r>
              <a:rPr lang="en-IN" sz="2000" dirty="0" smtClean="0"/>
              <a:t>Allocation </a:t>
            </a:r>
            <a:r>
              <a:rPr lang="en-IN" sz="2000" dirty="0"/>
              <a:t>of resources between </a:t>
            </a:r>
            <a:r>
              <a:rPr lang="en-IN" sz="2000" dirty="0" smtClean="0"/>
              <a:t>containers</a:t>
            </a:r>
          </a:p>
          <a:p>
            <a:pPr marL="285750" indent="-285750">
              <a:lnSpc>
                <a:spcPct val="100000"/>
              </a:lnSpc>
              <a:buFont typeface="Arial" panose="020B0604020202020204" pitchFamily="34" charset="0"/>
              <a:buChar char="•"/>
            </a:pPr>
            <a:r>
              <a:rPr lang="en-IN" sz="2000" dirty="0" smtClean="0"/>
              <a:t>Load </a:t>
            </a:r>
            <a:r>
              <a:rPr lang="en-IN" sz="2000" dirty="0"/>
              <a:t>balancing, traffic routing and service discovery of </a:t>
            </a:r>
            <a:r>
              <a:rPr lang="en-IN" sz="2000" dirty="0" smtClean="0"/>
              <a:t>containers</a:t>
            </a:r>
          </a:p>
          <a:p>
            <a:pPr marL="285750" indent="-285750">
              <a:lnSpc>
                <a:spcPct val="100000"/>
              </a:lnSpc>
              <a:buFont typeface="Arial" panose="020B0604020202020204" pitchFamily="34" charset="0"/>
              <a:buChar char="•"/>
            </a:pPr>
            <a:r>
              <a:rPr lang="en-IN" sz="2000" dirty="0" smtClean="0"/>
              <a:t>Health </a:t>
            </a:r>
            <a:r>
              <a:rPr lang="en-IN" sz="2000" dirty="0"/>
              <a:t>monitoring of </a:t>
            </a:r>
            <a:r>
              <a:rPr lang="en-IN" sz="2000" dirty="0" smtClean="0"/>
              <a:t>containers</a:t>
            </a:r>
          </a:p>
          <a:p>
            <a:pPr marL="285750" indent="-285750">
              <a:lnSpc>
                <a:spcPct val="100000"/>
              </a:lnSpc>
              <a:buFont typeface="Arial" panose="020B0604020202020204" pitchFamily="34" charset="0"/>
              <a:buChar char="•"/>
            </a:pPr>
            <a:r>
              <a:rPr lang="en-IN" sz="2000" dirty="0" smtClean="0"/>
              <a:t>Securing </a:t>
            </a:r>
            <a:r>
              <a:rPr lang="en-IN" sz="2000" dirty="0"/>
              <a:t>the interactions between containers.</a:t>
            </a:r>
            <a:endParaRPr lang="en-IN" sz="2000" dirty="0" smtClean="0"/>
          </a:p>
        </p:txBody>
      </p:sp>
    </p:spTree>
    <p:extLst>
      <p:ext uri="{BB962C8B-B14F-4D97-AF65-F5344CB8AC3E}">
        <p14:creationId xmlns:p14="http://schemas.microsoft.com/office/powerpoint/2010/main" val="34592024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625157"/>
          </a:xfrm>
        </p:spPr>
        <p:txBody>
          <a:bodyPr>
            <a:normAutofit/>
          </a:bodyPr>
          <a:lstStyle/>
          <a:p>
            <a:r>
              <a:rPr lang="en-IN" sz="2400" b="1" dirty="0" smtClean="0"/>
              <a:t>What is Kubernetes and What is the Need of It.</a:t>
            </a:r>
            <a:endParaRPr lang="en-IN" sz="2400" b="1" dirty="0"/>
          </a:p>
        </p:txBody>
      </p:sp>
      <p:sp>
        <p:nvSpPr>
          <p:cNvPr id="3" name="Content Placeholder 2"/>
          <p:cNvSpPr>
            <a:spLocks noGrp="1"/>
          </p:cNvSpPr>
          <p:nvPr>
            <p:ph idx="1"/>
          </p:nvPr>
        </p:nvSpPr>
        <p:spPr>
          <a:xfrm>
            <a:off x="298516" y="1100380"/>
            <a:ext cx="5458817" cy="4324027"/>
          </a:xfrm>
        </p:spPr>
        <p:txBody>
          <a:bodyPr>
            <a:normAutofit/>
          </a:bodyPr>
          <a:lstStyle/>
          <a:p>
            <a:endParaRPr lang="en-IN" dirty="0" smtClean="0"/>
          </a:p>
          <a:p>
            <a:pPr marL="285750" indent="-285750">
              <a:lnSpc>
                <a:spcPct val="100000"/>
              </a:lnSpc>
              <a:spcAft>
                <a:spcPts val="0"/>
              </a:spcAft>
              <a:buFont typeface="Arial" panose="020B0604020202020204" pitchFamily="34" charset="0"/>
              <a:buChar char="•"/>
            </a:pPr>
            <a:r>
              <a:rPr lang="en-US" dirty="0" smtClean="0"/>
              <a:t>Kubernetes </a:t>
            </a:r>
            <a:r>
              <a:rPr lang="en-US" dirty="0"/>
              <a:t>is not the containerization </a:t>
            </a:r>
            <a:r>
              <a:rPr lang="en-US" dirty="0" smtClean="0"/>
              <a:t>platform like Docker.</a:t>
            </a:r>
            <a:endParaRPr lang="en-US" dirty="0"/>
          </a:p>
          <a:p>
            <a:pPr marL="285750" indent="-285750">
              <a:lnSpc>
                <a:spcPct val="100000"/>
              </a:lnSpc>
              <a:spcAft>
                <a:spcPts val="0"/>
              </a:spcAft>
              <a:buFont typeface="Arial" panose="020B0604020202020204" pitchFamily="34" charset="0"/>
              <a:buChar char="•"/>
            </a:pPr>
            <a:endParaRPr lang="en-IN" dirty="0" smtClean="0"/>
          </a:p>
          <a:p>
            <a:pPr marL="285750" indent="-285750">
              <a:lnSpc>
                <a:spcPct val="100000"/>
              </a:lnSpc>
              <a:spcAft>
                <a:spcPts val="0"/>
              </a:spcAft>
              <a:buFont typeface="Arial" panose="020B0604020202020204" pitchFamily="34" charset="0"/>
              <a:buChar char="•"/>
            </a:pPr>
            <a:r>
              <a:rPr lang="en-IN" dirty="0" smtClean="0"/>
              <a:t>Any container  like Rocket, Docker, Linux  are good which package the application and isolate it from host.</a:t>
            </a:r>
          </a:p>
          <a:p>
            <a:pPr marL="285750" indent="-285750">
              <a:lnSpc>
                <a:spcPct val="100000"/>
              </a:lnSpc>
              <a:spcAft>
                <a:spcPts val="0"/>
              </a:spcAft>
              <a:buFont typeface="Arial" panose="020B0604020202020204" pitchFamily="34" charset="0"/>
              <a:buChar char="•"/>
            </a:pPr>
            <a:endParaRPr lang="en-IN" dirty="0"/>
          </a:p>
          <a:p>
            <a:pPr marL="285750" indent="-285750">
              <a:lnSpc>
                <a:spcPct val="100000"/>
              </a:lnSpc>
              <a:spcAft>
                <a:spcPts val="0"/>
              </a:spcAft>
              <a:buFont typeface="Arial" panose="020B0604020202020204" pitchFamily="34" charset="0"/>
              <a:buChar char="•"/>
            </a:pPr>
            <a:r>
              <a:rPr lang="en-IN" dirty="0" smtClean="0"/>
              <a:t>This makes container fast, reliable ,scalable. efficient But even if containers are scalable  they are not easily scalable.</a:t>
            </a:r>
          </a:p>
        </p:txBody>
      </p:sp>
      <p:pic>
        <p:nvPicPr>
          <p:cNvPr id="5" name="Picture 4"/>
          <p:cNvPicPr>
            <a:picLocks noChangeAspect="1"/>
          </p:cNvPicPr>
          <p:nvPr/>
        </p:nvPicPr>
        <p:blipFill>
          <a:blip r:embed="rId3"/>
          <a:stretch>
            <a:fillRect/>
          </a:stretch>
        </p:blipFill>
        <p:spPr>
          <a:xfrm>
            <a:off x="5757333" y="1497330"/>
            <a:ext cx="3172911" cy="2679463"/>
          </a:xfrm>
          <a:prstGeom prst="rect">
            <a:avLst/>
          </a:prstGeom>
        </p:spPr>
      </p:pic>
    </p:spTree>
    <p:extLst>
      <p:ext uri="{BB962C8B-B14F-4D97-AF65-F5344CB8AC3E}">
        <p14:creationId xmlns:p14="http://schemas.microsoft.com/office/powerpoint/2010/main" val="16882575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3"/>
            <a:ext cx="6563697" cy="484072"/>
          </a:xfrm>
        </p:spPr>
        <p:txBody>
          <a:bodyPr>
            <a:normAutofit fontScale="90000"/>
          </a:bodyPr>
          <a:lstStyle/>
          <a:p>
            <a:r>
              <a:rPr lang="en-IN" b="1" dirty="0"/>
              <a:t>What is Kubernetes and What is the Need of It.</a:t>
            </a:r>
          </a:p>
        </p:txBody>
      </p:sp>
      <p:sp>
        <p:nvSpPr>
          <p:cNvPr id="3" name="Content Placeholder 2"/>
          <p:cNvSpPr>
            <a:spLocks noGrp="1"/>
          </p:cNvSpPr>
          <p:nvPr>
            <p:ph idx="1"/>
          </p:nvPr>
        </p:nvSpPr>
        <p:spPr>
          <a:xfrm>
            <a:off x="298516" y="1143000"/>
            <a:ext cx="5458817" cy="4995517"/>
          </a:xfrm>
        </p:spPr>
        <p:txBody>
          <a:bodyPr>
            <a:normAutofit/>
          </a:bodyPr>
          <a:lstStyle/>
          <a:p>
            <a:endParaRPr lang="en-IN" dirty="0" smtClean="0"/>
          </a:p>
          <a:p>
            <a:pPr marL="285750" indent="-285750">
              <a:lnSpc>
                <a:spcPct val="100000"/>
              </a:lnSpc>
              <a:buFont typeface="Arial" panose="020B0604020202020204" pitchFamily="34" charset="0"/>
              <a:buChar char="•"/>
            </a:pPr>
            <a:r>
              <a:rPr lang="en-IN" dirty="0" smtClean="0"/>
              <a:t>Till the time   you want to scale up to 2 or 3 container it is manageable.</a:t>
            </a:r>
          </a:p>
          <a:p>
            <a:pPr marL="285750" indent="-285750">
              <a:lnSpc>
                <a:spcPct val="100000"/>
              </a:lnSpc>
              <a:buFont typeface="Arial" panose="020B0604020202020204" pitchFamily="34" charset="0"/>
              <a:buChar char="•"/>
            </a:pPr>
            <a:r>
              <a:rPr lang="en-IN" dirty="0" smtClean="0"/>
              <a:t>But if you want to scale up  the containers  up to 100 or 200 container it is difficult</a:t>
            </a:r>
          </a:p>
          <a:p>
            <a:pPr marL="285750" indent="-285750">
              <a:lnSpc>
                <a:spcPct val="100000"/>
              </a:lnSpc>
              <a:buFont typeface="Arial" panose="020B0604020202020204" pitchFamily="34" charset="0"/>
              <a:buChar char="•"/>
            </a:pPr>
            <a:r>
              <a:rPr lang="en-IN" dirty="0" smtClean="0"/>
              <a:t>Without kubernetes it has to be manual  scale up.</a:t>
            </a:r>
          </a:p>
          <a:p>
            <a:pPr marL="285750" indent="-285750">
              <a:lnSpc>
                <a:spcPct val="100000"/>
              </a:lnSpc>
              <a:buFont typeface="Arial" panose="020B0604020202020204" pitchFamily="34" charset="0"/>
              <a:buChar char="•"/>
            </a:pPr>
            <a:r>
              <a:rPr lang="en-IN" dirty="0" smtClean="0"/>
              <a:t>Even after scaling up  container needs to talk to each other.</a:t>
            </a:r>
          </a:p>
          <a:p>
            <a:pPr marL="285750" indent="-285750">
              <a:lnSpc>
                <a:spcPct val="100000"/>
              </a:lnSpc>
              <a:buFont typeface="Arial" panose="020B0604020202020204" pitchFamily="34" charset="0"/>
              <a:buChar char="•"/>
            </a:pPr>
            <a:r>
              <a:rPr lang="en-IN" dirty="0" smtClean="0"/>
              <a:t>Its important to be manageable when it is getting scaled.</a:t>
            </a:r>
          </a:p>
          <a:p>
            <a:endParaRPr lang="en-IN" dirty="0"/>
          </a:p>
        </p:txBody>
      </p:sp>
      <p:pic>
        <p:nvPicPr>
          <p:cNvPr id="5" name="Picture 4"/>
          <p:cNvPicPr>
            <a:picLocks noChangeAspect="1"/>
          </p:cNvPicPr>
          <p:nvPr/>
        </p:nvPicPr>
        <p:blipFill>
          <a:blip r:embed="rId3"/>
          <a:stretch>
            <a:fillRect/>
          </a:stretch>
        </p:blipFill>
        <p:spPr>
          <a:xfrm>
            <a:off x="5863590" y="1360171"/>
            <a:ext cx="2890943" cy="3211830"/>
          </a:xfrm>
          <a:prstGeom prst="rect">
            <a:avLst/>
          </a:prstGeom>
        </p:spPr>
      </p:pic>
    </p:spTree>
    <p:extLst>
      <p:ext uri="{BB962C8B-B14F-4D97-AF65-F5344CB8AC3E}">
        <p14:creationId xmlns:p14="http://schemas.microsoft.com/office/powerpoint/2010/main" val="3778364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2" y="418452"/>
            <a:ext cx="7017274" cy="650327"/>
          </a:xfrm>
        </p:spPr>
        <p:txBody>
          <a:bodyPr/>
          <a:lstStyle/>
          <a:p>
            <a:r>
              <a:rPr lang="en-IN" b="1" dirty="0" smtClean="0"/>
              <a:t>Problems With Scaling Up Container</a:t>
            </a:r>
            <a:endParaRPr lang="en-IN" b="1" dirty="0"/>
          </a:p>
        </p:txBody>
      </p:sp>
      <p:pic>
        <p:nvPicPr>
          <p:cNvPr id="4" name="Content Placeholder 3"/>
          <p:cNvPicPr>
            <a:picLocks noGrp="1" noChangeAspect="1"/>
          </p:cNvPicPr>
          <p:nvPr>
            <p:ph idx="1"/>
          </p:nvPr>
        </p:nvPicPr>
        <p:blipFill>
          <a:blip r:embed="rId3"/>
          <a:stretch>
            <a:fillRect/>
          </a:stretch>
        </p:blipFill>
        <p:spPr>
          <a:xfrm>
            <a:off x="908050" y="1428750"/>
            <a:ext cx="5824538" cy="4042260"/>
          </a:xfrm>
          <a:prstGeom prst="rect">
            <a:avLst/>
          </a:prstGeom>
        </p:spPr>
      </p:pic>
    </p:spTree>
    <p:extLst>
      <p:ext uri="{BB962C8B-B14F-4D97-AF65-F5344CB8AC3E}">
        <p14:creationId xmlns:p14="http://schemas.microsoft.com/office/powerpoint/2010/main" val="42902348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472197"/>
          </a:xfrm>
        </p:spPr>
        <p:txBody>
          <a:bodyPr>
            <a:normAutofit/>
          </a:bodyPr>
          <a:lstStyle/>
          <a:p>
            <a:r>
              <a:rPr lang="en-IN" sz="2400" dirty="0"/>
              <a:t>What is </a:t>
            </a:r>
            <a:r>
              <a:rPr lang="en-IN" sz="2400" dirty="0" smtClean="0"/>
              <a:t>Kubernetes – As Container Orchestration Tool</a:t>
            </a:r>
            <a:endParaRPr lang="en-IN" sz="2400" dirty="0"/>
          </a:p>
        </p:txBody>
      </p:sp>
      <p:graphicFrame>
        <p:nvGraphicFramePr>
          <p:cNvPr id="4" name="Diagram 3"/>
          <p:cNvGraphicFramePr/>
          <p:nvPr>
            <p:extLst>
              <p:ext uri="{D42A27DB-BD31-4B8C-83A1-F6EECF244321}">
                <p14:modId xmlns:p14="http://schemas.microsoft.com/office/powerpoint/2010/main" val="786901697"/>
              </p:ext>
            </p:extLst>
          </p:nvPr>
        </p:nvGraphicFramePr>
        <p:xfrm>
          <a:off x="1010318" y="1149302"/>
          <a:ext cx="6096000" cy="4942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415407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2" ma:contentTypeDescription="Create a new document." ma:contentTypeScope="" ma:versionID="db045e7d1992db9cfc8b663ee4dda2d2">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a2bd43f3c01a0467341ff5ba4dd99e21"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FD60D1F0-8DB1-4ACB-9EF2-B1B94F68C706}"/>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47</TotalTime>
  <Words>1400</Words>
  <Application>Microsoft Office PowerPoint</Application>
  <PresentationFormat>On-screen Show (4:3)</PresentationFormat>
  <Paragraphs>118</Paragraphs>
  <Slides>15</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Verdana</vt:lpstr>
      <vt:lpstr>Wingdings</vt:lpstr>
      <vt:lpstr>Section slides</vt:lpstr>
      <vt:lpstr>think-cell Slide</vt:lpstr>
      <vt:lpstr>PowerPoint Presentation</vt:lpstr>
      <vt:lpstr>Lesson Objectives</vt:lpstr>
      <vt:lpstr>Container Orchestration </vt:lpstr>
      <vt:lpstr>What  is Container Orchestration</vt:lpstr>
      <vt:lpstr>Why Need Container Orchestration?.</vt:lpstr>
      <vt:lpstr>What is Kubernetes and What is the Need of It.</vt:lpstr>
      <vt:lpstr>What is Kubernetes and What is the Need of It.</vt:lpstr>
      <vt:lpstr>Problems With Scaling Up Container</vt:lpstr>
      <vt:lpstr>What is Kubernetes – As Container Orchestration Tool</vt:lpstr>
      <vt:lpstr>What is Kubernetes</vt:lpstr>
      <vt:lpstr>Features of Kubernetes</vt:lpstr>
      <vt:lpstr>Features of Kubernetes</vt:lpstr>
      <vt:lpstr>Features of Kubernetes</vt:lpstr>
      <vt:lpstr>Kubernetes vs Docker Swarm</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dc:title>
  <dc:creator>iGATE</dc:creator>
  <cp:lastModifiedBy>Srivastava, Vaishali</cp:lastModifiedBy>
  <cp:revision>316</cp:revision>
  <dcterms:created xsi:type="dcterms:W3CDTF">2012-05-18T02:59:15Z</dcterms:created>
  <dcterms:modified xsi:type="dcterms:W3CDTF">2021-03-07T12:4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ies>
</file>